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8" r:id="rId6"/>
  </p:sldMasterIdLst>
  <p:notesMasterIdLst>
    <p:notesMasterId r:id="rId31"/>
  </p:notesMasterIdLst>
  <p:handoutMasterIdLst>
    <p:handoutMasterId r:id="rId32"/>
  </p:handoutMasterIdLst>
  <p:sldIdLst>
    <p:sldId id="318" r:id="rId7"/>
    <p:sldId id="2147377023" r:id="rId8"/>
    <p:sldId id="2147377013" r:id="rId9"/>
    <p:sldId id="2147377049" r:id="rId10"/>
    <p:sldId id="2147377012" r:id="rId11"/>
    <p:sldId id="2147377018" r:id="rId12"/>
    <p:sldId id="2147377051" r:id="rId13"/>
    <p:sldId id="2147377050" r:id="rId14"/>
    <p:sldId id="2147377052" r:id="rId15"/>
    <p:sldId id="2147377059" r:id="rId16"/>
    <p:sldId id="2147377054" r:id="rId17"/>
    <p:sldId id="2147377016" r:id="rId18"/>
    <p:sldId id="2147377053" r:id="rId19"/>
    <p:sldId id="2147377066" r:id="rId20"/>
    <p:sldId id="2147377067" r:id="rId21"/>
    <p:sldId id="2147377055" r:id="rId22"/>
    <p:sldId id="737" r:id="rId23"/>
    <p:sldId id="2147377061" r:id="rId24"/>
    <p:sldId id="2147377065" r:id="rId25"/>
    <p:sldId id="2147377058" r:id="rId26"/>
    <p:sldId id="2147377064" r:id="rId27"/>
    <p:sldId id="2147377017" r:id="rId28"/>
    <p:sldId id="454" r:id="rId29"/>
    <p:sldId id="2147377062" r:id="rId30"/>
  </p:sldIdLst>
  <p:sldSz cx="12192000" cy="6858000"/>
  <p:notesSz cx="6805613" cy="9944100"/>
  <p:custDataLst>
    <p:tags r:id="rId3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47" userDrawn="1">
          <p15:clr>
            <a:srgbClr val="A4A3A4"/>
          </p15:clr>
        </p15:guide>
        <p15:guide id="3" orient="horz" pos="4320" userDrawn="1">
          <p15:clr>
            <a:srgbClr val="A4A3A4"/>
          </p15:clr>
        </p15:guide>
        <p15:guide id="6" pos="5586" userDrawn="1">
          <p15:clr>
            <a:srgbClr val="A4A3A4"/>
          </p15:clr>
        </p15:guide>
        <p15:guide id="7" pos="3704" userDrawn="1">
          <p15:clr>
            <a:srgbClr val="A4A3A4"/>
          </p15:clr>
        </p15:guide>
        <p15:guide id="8" pos="7628" userDrawn="1">
          <p15:clr>
            <a:srgbClr val="A4A3A4"/>
          </p15:clr>
        </p15:guide>
        <p15:guide id="9" pos="7061" userDrawn="1">
          <p15:clr>
            <a:srgbClr val="A4A3A4"/>
          </p15:clr>
        </p15:guide>
        <p15:guide id="11" pos="2139" userDrawn="1">
          <p15:clr>
            <a:srgbClr val="A4A3A4"/>
          </p15:clr>
        </p15:guide>
        <p15:guide id="15" orient="horz" pos="3135" userDrawn="1">
          <p15:clr>
            <a:srgbClr val="A4A3A4"/>
          </p15:clr>
        </p15:guide>
        <p15:guide id="19" orient="horz" pos="754" userDrawn="1">
          <p15:clr>
            <a:srgbClr val="A4A3A4"/>
          </p15:clr>
        </p15:guide>
        <p15:guide id="20" pos="3568" userDrawn="1">
          <p15:clr>
            <a:srgbClr val="A4A3A4"/>
          </p15:clr>
        </p15:guide>
        <p15:guide id="21" pos="740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F40C93-405A-9B1B-C77D-8A845D6D22EC}" name="Agathe van Amerongen" initials="AvA" userId="S::agathe.van.amerongen@loyensloeff.com::d17b608d-c785-4dc0-8374-e4aade5a26cc" providerId="AD"/>
  <p188:author id="{8AB6B5E9-E5FF-569E-B06A-077397217222}" name="Frédérique Eijssen" initials="FE" userId="S::frederique.eijssen@loyensloeff.com::362bd0a7-b57b-434d-aa33-e8dbb8333e3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ierre-Antoine Klethi" initials="PK" lastIdx="1" clrIdx="0">
    <p:extLst>
      <p:ext uri="{19B8F6BF-5375-455C-9EA6-DF929625EA0E}">
        <p15:presenceInfo xmlns:p15="http://schemas.microsoft.com/office/powerpoint/2012/main" userId="S::pierre-antoine.klethi@loyensloeff.com::faf99320-b9ec-43b6-8118-b1eddd3e0a23" providerId="AD"/>
      </p:ext>
    </p:extLst>
  </p:cmAuthor>
  <p:cmAuthor id="2" name="Steffanie van der Kroon" initials="SvdK" lastIdx="1" clrIdx="1">
    <p:extLst>
      <p:ext uri="{19B8F6BF-5375-455C-9EA6-DF929625EA0E}">
        <p15:presenceInfo xmlns:p15="http://schemas.microsoft.com/office/powerpoint/2012/main" userId="S::steffanie.van.der.kroon@loyensloeff.com::26939e4d-a3d9-4b3b-93b4-1157d61385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9FE"/>
    <a:srgbClr val="E7F0F9"/>
    <a:srgbClr val="8EAADB"/>
    <a:srgbClr val="A6A6A6"/>
    <a:srgbClr val="4D4D4F"/>
    <a:srgbClr val="CBE0F3"/>
    <a:srgbClr val="53D0FF"/>
    <a:srgbClr val="52859C"/>
    <a:srgbClr val="FF7C80"/>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6916" autoAdjust="0"/>
  </p:normalViewPr>
  <p:slideViewPr>
    <p:cSldViewPr snapToGrid="0">
      <p:cViewPr varScale="1">
        <p:scale>
          <a:sx n="108" d="100"/>
          <a:sy n="108" d="100"/>
        </p:scale>
        <p:origin x="576" y="114"/>
      </p:cViewPr>
      <p:guideLst>
        <p:guide pos="347"/>
        <p:guide orient="horz" pos="4320"/>
        <p:guide pos="5586"/>
        <p:guide pos="3704"/>
        <p:guide pos="7628"/>
        <p:guide pos="7061"/>
        <p:guide pos="2139"/>
        <p:guide orient="horz" pos="3135"/>
        <p:guide orient="horz" pos="754"/>
        <p:guide pos="3568"/>
        <p:guide pos="740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8/10/relationships/authors" Target="authors.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BE"/>
        </a:p>
      </c:txPr>
    </c:title>
    <c:autoTitleDeleted val="0"/>
    <c:plotArea>
      <c:layout/>
      <c:pieChart>
        <c:varyColors val="1"/>
        <c:ser>
          <c:idx val="0"/>
          <c:order val="0"/>
          <c:tx>
            <c:strRef>
              <c:f>Sheet1!$B$1</c:f>
              <c:strCache>
                <c:ptCount val="1"/>
                <c:pt idx="0">
                  <c:v>Tie breaker</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C46-4043-8C8F-4C7CBC87095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C46-4043-8C8F-4C7CBC87095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C46-4043-8C8F-4C7CBC87095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C46-4043-8C8F-4C7CBC87095C}"/>
              </c:ext>
            </c:extLst>
          </c:dPt>
          <c:cat>
            <c:strRef>
              <c:f>Sheet1!$A$2:$A$5</c:f>
              <c:strCache>
                <c:ptCount val="3"/>
                <c:pt idx="0">
                  <c:v>POEM</c:v>
                </c:pt>
                <c:pt idx="1">
                  <c:v>Hierarchy of tests</c:v>
                </c:pt>
                <c:pt idx="2">
                  <c:v>MAP</c:v>
                </c:pt>
              </c:strCache>
            </c:strRef>
          </c:cat>
          <c:val>
            <c:numRef>
              <c:f>Sheet1!$B$2:$B$5</c:f>
              <c:numCache>
                <c:formatCode>0%</c:formatCode>
                <c:ptCount val="4"/>
                <c:pt idx="0">
                  <c:v>0.83</c:v>
                </c:pt>
                <c:pt idx="1">
                  <c:v>0.05</c:v>
                </c:pt>
                <c:pt idx="2">
                  <c:v>0.12</c:v>
                </c:pt>
              </c:numCache>
            </c:numRef>
          </c:val>
          <c:extLst>
            <c:ext xmlns:c16="http://schemas.microsoft.com/office/drawing/2014/chart" uri="{C3380CC4-5D6E-409C-BE32-E72D297353CC}">
              <c16:uniqueId val="{00000008-7C46-4043-8C8F-4C7CBC87095C}"/>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BE"/>
        </a:p>
      </c:txPr>
    </c:title>
    <c:autoTitleDeleted val="0"/>
    <c:plotArea>
      <c:layout/>
      <c:pieChart>
        <c:varyColors val="1"/>
        <c:ser>
          <c:idx val="0"/>
          <c:order val="0"/>
          <c:tx>
            <c:strRef>
              <c:f>Sheet1!$B$1</c:f>
              <c:strCache>
                <c:ptCount val="1"/>
                <c:pt idx="0">
                  <c:v>Tie breaker</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C46-4043-8C8F-4C7CBC87095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C46-4043-8C8F-4C7CBC87095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C46-4043-8C8F-4C7CBC87095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C46-4043-8C8F-4C7CBC87095C}"/>
              </c:ext>
            </c:extLst>
          </c:dPt>
          <c:cat>
            <c:strRef>
              <c:f>Sheet1!$A$2:$A$5</c:f>
              <c:strCache>
                <c:ptCount val="3"/>
                <c:pt idx="0">
                  <c:v>POEM</c:v>
                </c:pt>
                <c:pt idx="1">
                  <c:v>Hierarchy of tests</c:v>
                </c:pt>
                <c:pt idx="2">
                  <c:v>MAP</c:v>
                </c:pt>
              </c:strCache>
            </c:strRef>
          </c:cat>
          <c:val>
            <c:numRef>
              <c:f>Sheet1!$B$2:$B$5</c:f>
              <c:numCache>
                <c:formatCode>0%</c:formatCode>
                <c:ptCount val="4"/>
                <c:pt idx="0">
                  <c:v>0.83</c:v>
                </c:pt>
                <c:pt idx="1">
                  <c:v>0.05</c:v>
                </c:pt>
                <c:pt idx="2">
                  <c:v>0.12</c:v>
                </c:pt>
              </c:numCache>
            </c:numRef>
          </c:val>
          <c:extLst>
            <c:ext xmlns:c16="http://schemas.microsoft.com/office/drawing/2014/chart" uri="{C3380CC4-5D6E-409C-BE32-E72D297353CC}">
              <c16:uniqueId val="{00000008-7C46-4043-8C8F-4C7CBC87095C}"/>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DB4682-2FEE-443F-AAA4-33E73F4784F4}" type="doc">
      <dgm:prSet loTypeId="urn:microsoft.com/office/officeart/2008/layout/VerticalCurvedList" loCatId="list" qsTypeId="urn:microsoft.com/office/officeart/2005/8/quickstyle/simple1" qsCatId="simple" csTypeId="urn:microsoft.com/office/officeart/2005/8/colors/accent1_5" csCatId="accent1" phldr="1"/>
      <dgm:spPr/>
      <dgm:t>
        <a:bodyPr/>
        <a:lstStyle/>
        <a:p>
          <a:endParaRPr lang="en-BE"/>
        </a:p>
      </dgm:t>
    </dgm:pt>
    <dgm:pt modelId="{72BBC14C-F283-4FDC-A1DB-1F6E2519BBB9}">
      <dgm:prSet phldrT="[Text]" custT="1"/>
      <dgm:spPr>
        <a:ln>
          <a:solidFill>
            <a:schemeClr val="accent2"/>
          </a:solidFill>
        </a:ln>
      </dgm:spPr>
      <dgm:t>
        <a:bodyPr/>
        <a:lstStyle/>
        <a:p>
          <a:r>
            <a:rPr lang="en-BE" sz="1800" b="1" noProof="0" dirty="0"/>
            <a:t>Connecting factor for being subject to CIT on worldwide income </a:t>
          </a:r>
        </a:p>
      </dgm:t>
    </dgm:pt>
    <dgm:pt modelId="{2B32770D-6818-40E6-A031-165876797BE4}" type="parTrans" cxnId="{29D8FAC5-B955-49E1-919B-C22BF311DC58}">
      <dgm:prSet/>
      <dgm:spPr/>
      <dgm:t>
        <a:bodyPr/>
        <a:lstStyle/>
        <a:p>
          <a:endParaRPr lang="en-BE" sz="1800"/>
        </a:p>
      </dgm:t>
    </dgm:pt>
    <dgm:pt modelId="{063983B8-974D-4846-9A26-0A273A6827EF}" type="sibTrans" cxnId="{29D8FAC5-B955-49E1-919B-C22BF311DC58}">
      <dgm:prSet/>
      <dgm:spPr/>
      <dgm:t>
        <a:bodyPr/>
        <a:lstStyle/>
        <a:p>
          <a:endParaRPr lang="en-BE" sz="1800"/>
        </a:p>
      </dgm:t>
    </dgm:pt>
    <dgm:pt modelId="{B74F5C26-119E-4AC4-A2F8-816C5E8998C4}">
      <dgm:prSet phldrT="[Text]" custT="1"/>
      <dgm:spPr>
        <a:solidFill>
          <a:schemeClr val="accent2">
            <a:alpha val="80000"/>
          </a:schemeClr>
        </a:solidFill>
        <a:ln>
          <a:solidFill>
            <a:schemeClr val="accent1"/>
          </a:solidFill>
        </a:ln>
      </dgm:spPr>
      <dgm:t>
        <a:bodyPr/>
        <a:lstStyle/>
        <a:p>
          <a:r>
            <a:rPr lang="en-BE" sz="1800" b="1" noProof="0" dirty="0"/>
            <a:t>Connecting factor for source taxation</a:t>
          </a:r>
        </a:p>
      </dgm:t>
    </dgm:pt>
    <dgm:pt modelId="{4589ABB0-29DD-4117-AD8A-B3D6AE3AD38E}" type="parTrans" cxnId="{41BDB7EA-AA8F-4F4F-A397-86C9346F704D}">
      <dgm:prSet/>
      <dgm:spPr/>
      <dgm:t>
        <a:bodyPr/>
        <a:lstStyle/>
        <a:p>
          <a:endParaRPr lang="en-BE" sz="1800"/>
        </a:p>
      </dgm:t>
    </dgm:pt>
    <dgm:pt modelId="{2724BD56-04F9-4656-AE88-90A74D10AAED}" type="sibTrans" cxnId="{41BDB7EA-AA8F-4F4F-A397-86C9346F704D}">
      <dgm:prSet/>
      <dgm:spPr/>
      <dgm:t>
        <a:bodyPr/>
        <a:lstStyle/>
        <a:p>
          <a:endParaRPr lang="en-BE" sz="1800"/>
        </a:p>
      </dgm:t>
    </dgm:pt>
    <dgm:pt modelId="{9421946A-8294-45DA-B4FD-839368891240}">
      <dgm:prSet phldrT="[Text]" custT="1"/>
      <dgm:spPr>
        <a:solidFill>
          <a:schemeClr val="bg2">
            <a:alpha val="70000"/>
          </a:schemeClr>
        </a:solidFill>
        <a:ln>
          <a:solidFill>
            <a:schemeClr val="accent2"/>
          </a:solidFill>
        </a:ln>
      </dgm:spPr>
      <dgm:t>
        <a:bodyPr/>
        <a:lstStyle/>
        <a:p>
          <a:r>
            <a:rPr lang="en-US" sz="1800" b="1" kern="1200" dirty="0">
              <a:solidFill>
                <a:prstClr val="white"/>
              </a:solidFill>
              <a:latin typeface="Arial" panose="020B0604020202020204"/>
              <a:ea typeface="+mn-ea"/>
              <a:cs typeface="+mn-cs"/>
            </a:rPr>
            <a:t>Entitlement to double tax treaty </a:t>
          </a:r>
        </a:p>
      </dgm:t>
    </dgm:pt>
    <dgm:pt modelId="{90B4BC9C-FF19-4D6B-89D4-20B84766A9BB}" type="parTrans" cxnId="{0415A9F9-221A-4AE0-8CD0-9642DE952239}">
      <dgm:prSet/>
      <dgm:spPr/>
      <dgm:t>
        <a:bodyPr/>
        <a:lstStyle/>
        <a:p>
          <a:endParaRPr lang="en-BE" sz="1800"/>
        </a:p>
      </dgm:t>
    </dgm:pt>
    <dgm:pt modelId="{AB4D9C18-BF46-4DE9-B0DD-D683655C28C0}" type="sibTrans" cxnId="{0415A9F9-221A-4AE0-8CD0-9642DE952239}">
      <dgm:prSet/>
      <dgm:spPr/>
      <dgm:t>
        <a:bodyPr/>
        <a:lstStyle/>
        <a:p>
          <a:endParaRPr lang="en-BE" sz="1800"/>
        </a:p>
      </dgm:t>
    </dgm:pt>
    <dgm:pt modelId="{4EF33D7C-F120-4EC2-BBB6-755CFD6A1E2E}">
      <dgm:prSet custT="1"/>
      <dgm:spPr>
        <a:solidFill>
          <a:srgbClr val="00A2E0">
            <a:alpha val="80000"/>
          </a:srgbClr>
        </a:solidFill>
        <a:ln w="12700" cap="flat" cmpd="sng" algn="ctr">
          <a:solidFill>
            <a:srgbClr val="06357A"/>
          </a:solidFill>
          <a:prstDash val="solid"/>
          <a:miter lim="800000"/>
        </a:ln>
        <a:effectLst/>
      </dgm:spPr>
      <dgm:t>
        <a:bodyPr spcFirstLastPara="0" vert="horz" wrap="square" lIns="390881" tIns="45720" rIns="45720" bIns="45720" numCol="1" spcCol="1270" anchor="ctr" anchorCtr="0"/>
        <a:lstStyle/>
        <a:p>
          <a:pPr marL="0" lvl="0" indent="0" algn="l" defTabSz="800100">
            <a:lnSpc>
              <a:spcPct val="90000"/>
            </a:lnSpc>
            <a:spcBef>
              <a:spcPct val="0"/>
            </a:spcBef>
            <a:spcAft>
              <a:spcPct val="35000"/>
            </a:spcAft>
            <a:buNone/>
          </a:pPr>
          <a:r>
            <a:rPr lang="nl-NL" sz="1800" b="1" kern="1200" dirty="0">
              <a:solidFill>
                <a:prstClr val="white"/>
              </a:solidFill>
              <a:latin typeface="Arial" panose="020B0604020202020204"/>
              <a:ea typeface="+mn-ea"/>
              <a:cs typeface="+mn-cs"/>
            </a:rPr>
            <a:t>    </a:t>
          </a:r>
          <a:r>
            <a:rPr lang="en-BE" sz="1800" b="1" kern="1200" noProof="0" dirty="0">
              <a:solidFill>
                <a:prstClr val="white"/>
              </a:solidFill>
              <a:latin typeface="Arial" panose="020B0604020202020204"/>
              <a:ea typeface="+mn-ea"/>
              <a:cs typeface="+mn-cs"/>
            </a:rPr>
            <a:t>Entitlement to EU Directives</a:t>
          </a:r>
        </a:p>
      </dgm:t>
    </dgm:pt>
    <dgm:pt modelId="{DF865E1D-F46C-423E-83CB-D2BA788AEB54}" type="parTrans" cxnId="{CFBBD536-4176-4494-A2AA-10BA52F554A8}">
      <dgm:prSet/>
      <dgm:spPr/>
      <dgm:t>
        <a:bodyPr/>
        <a:lstStyle/>
        <a:p>
          <a:endParaRPr lang="nl-NL" sz="1800"/>
        </a:p>
      </dgm:t>
    </dgm:pt>
    <dgm:pt modelId="{A88EBE65-FE22-4A12-89E6-921CEFF169D1}" type="sibTrans" cxnId="{CFBBD536-4176-4494-A2AA-10BA52F554A8}">
      <dgm:prSet/>
      <dgm:spPr/>
      <dgm:t>
        <a:bodyPr/>
        <a:lstStyle/>
        <a:p>
          <a:endParaRPr lang="nl-NL" sz="1800"/>
        </a:p>
      </dgm:t>
    </dgm:pt>
    <dgm:pt modelId="{EE653393-1E03-428C-8F59-58FE59F537D7}" type="pres">
      <dgm:prSet presAssocID="{20DB4682-2FEE-443F-AAA4-33E73F4784F4}" presName="Name0" presStyleCnt="0">
        <dgm:presLayoutVars>
          <dgm:chMax val="7"/>
          <dgm:chPref val="7"/>
          <dgm:dir/>
        </dgm:presLayoutVars>
      </dgm:prSet>
      <dgm:spPr/>
    </dgm:pt>
    <dgm:pt modelId="{165A6E12-5940-481F-A5A5-CE8FD8241AD9}" type="pres">
      <dgm:prSet presAssocID="{20DB4682-2FEE-443F-AAA4-33E73F4784F4}" presName="Name1" presStyleCnt="0"/>
      <dgm:spPr/>
    </dgm:pt>
    <dgm:pt modelId="{7A1A1ACC-1F95-4E3B-99F7-E233A8642F3D}" type="pres">
      <dgm:prSet presAssocID="{20DB4682-2FEE-443F-AAA4-33E73F4784F4}" presName="cycle" presStyleCnt="0"/>
      <dgm:spPr/>
    </dgm:pt>
    <dgm:pt modelId="{F475334D-1834-4054-A845-0EA42D05BDB7}" type="pres">
      <dgm:prSet presAssocID="{20DB4682-2FEE-443F-AAA4-33E73F4784F4}" presName="srcNode" presStyleLbl="node1" presStyleIdx="0" presStyleCnt="4"/>
      <dgm:spPr/>
    </dgm:pt>
    <dgm:pt modelId="{F6FA7466-EC54-43A3-B052-83457BF991F4}" type="pres">
      <dgm:prSet presAssocID="{20DB4682-2FEE-443F-AAA4-33E73F4784F4}" presName="conn" presStyleLbl="parChTrans1D2" presStyleIdx="0" presStyleCnt="1"/>
      <dgm:spPr/>
    </dgm:pt>
    <dgm:pt modelId="{0DEF22BD-3F31-4099-AF67-EDF83FB5E5D0}" type="pres">
      <dgm:prSet presAssocID="{20DB4682-2FEE-443F-AAA4-33E73F4784F4}" presName="extraNode" presStyleLbl="node1" presStyleIdx="0" presStyleCnt="4"/>
      <dgm:spPr/>
    </dgm:pt>
    <dgm:pt modelId="{0AB16310-DABB-4F32-8BCD-15F5FAF10C35}" type="pres">
      <dgm:prSet presAssocID="{20DB4682-2FEE-443F-AAA4-33E73F4784F4}" presName="dstNode" presStyleLbl="node1" presStyleIdx="0" presStyleCnt="4"/>
      <dgm:spPr/>
    </dgm:pt>
    <dgm:pt modelId="{C8323F85-A571-4040-9188-C7AFBE906E6B}" type="pres">
      <dgm:prSet presAssocID="{72BBC14C-F283-4FDC-A1DB-1F6E2519BBB9}" presName="text_1" presStyleLbl="node1" presStyleIdx="0" presStyleCnt="4" custLinFactNeighborX="113" custLinFactNeighborY="7074">
        <dgm:presLayoutVars>
          <dgm:bulletEnabled val="1"/>
        </dgm:presLayoutVars>
      </dgm:prSet>
      <dgm:spPr/>
    </dgm:pt>
    <dgm:pt modelId="{F56D3086-4E11-4378-8564-11108B89F2C4}" type="pres">
      <dgm:prSet presAssocID="{72BBC14C-F283-4FDC-A1DB-1F6E2519BBB9}" presName="accent_1" presStyleCnt="0"/>
      <dgm:spPr/>
    </dgm:pt>
    <dgm:pt modelId="{DB8D3C4C-B3C3-45B5-895A-2EC863028C87}" type="pres">
      <dgm:prSet presAssocID="{72BBC14C-F283-4FDC-A1DB-1F6E2519BBB9}" presName="accentRepeatNode" presStyleLbl="solidFgAcc1" presStyleIdx="0" presStyleCnt="4"/>
      <dgm:spPr/>
    </dgm:pt>
    <dgm:pt modelId="{8E0C5494-41A5-4913-B139-2B3178A733D1}" type="pres">
      <dgm:prSet presAssocID="{B74F5C26-119E-4AC4-A2F8-816C5E8998C4}" presName="text_2" presStyleLbl="node1" presStyleIdx="1" presStyleCnt="4" custLinFactNeighborX="120" custLinFactNeighborY="7074">
        <dgm:presLayoutVars>
          <dgm:bulletEnabled val="1"/>
        </dgm:presLayoutVars>
      </dgm:prSet>
      <dgm:spPr/>
    </dgm:pt>
    <dgm:pt modelId="{DBE73BD0-8BD1-4982-B594-A1F76C693E26}" type="pres">
      <dgm:prSet presAssocID="{B74F5C26-119E-4AC4-A2F8-816C5E8998C4}" presName="accent_2" presStyleCnt="0"/>
      <dgm:spPr/>
    </dgm:pt>
    <dgm:pt modelId="{448F5F64-2EE7-4ED4-B2A6-BAE951401BC7}" type="pres">
      <dgm:prSet presAssocID="{B74F5C26-119E-4AC4-A2F8-816C5E8998C4}" presName="accentRepeatNode" presStyleLbl="solidFgAcc1" presStyleIdx="1" presStyleCnt="4"/>
      <dgm:spPr/>
    </dgm:pt>
    <dgm:pt modelId="{8E563F5C-A2AA-48BE-A9D5-DD114927CD90}" type="pres">
      <dgm:prSet presAssocID="{9421946A-8294-45DA-B4FD-839368891240}" presName="text_3" presStyleLbl="node1" presStyleIdx="2" presStyleCnt="4" custLinFactNeighborX="-710" custLinFactNeighborY="12370">
        <dgm:presLayoutVars>
          <dgm:bulletEnabled val="1"/>
        </dgm:presLayoutVars>
      </dgm:prSet>
      <dgm:spPr/>
    </dgm:pt>
    <dgm:pt modelId="{5602C3AA-17EC-4C6C-8A9D-B4CD3ACDAD4F}" type="pres">
      <dgm:prSet presAssocID="{9421946A-8294-45DA-B4FD-839368891240}" presName="accent_3" presStyleCnt="0"/>
      <dgm:spPr/>
    </dgm:pt>
    <dgm:pt modelId="{C4799819-6E5F-496D-9037-8BCBB0A57672}" type="pres">
      <dgm:prSet presAssocID="{9421946A-8294-45DA-B4FD-839368891240}" presName="accentRepeatNode" presStyleLbl="solidFgAcc1" presStyleIdx="2" presStyleCnt="4"/>
      <dgm:spPr/>
    </dgm:pt>
    <dgm:pt modelId="{1FDC411C-02BA-45E8-B923-88980790A40B}" type="pres">
      <dgm:prSet presAssocID="{4EF33D7C-F120-4EC2-BBB6-755CFD6A1E2E}" presName="text_4" presStyleLbl="node1" presStyleIdx="3" presStyleCnt="4">
        <dgm:presLayoutVars>
          <dgm:bulletEnabled val="1"/>
        </dgm:presLayoutVars>
      </dgm:prSet>
      <dgm:spPr/>
    </dgm:pt>
    <dgm:pt modelId="{7D1D8033-8D5C-4653-B8FC-9C2C189C573F}" type="pres">
      <dgm:prSet presAssocID="{4EF33D7C-F120-4EC2-BBB6-755CFD6A1E2E}" presName="accent_4" presStyleCnt="0"/>
      <dgm:spPr/>
    </dgm:pt>
    <dgm:pt modelId="{1759FA6D-2292-457C-AD0C-7D5F4838E4D3}" type="pres">
      <dgm:prSet presAssocID="{4EF33D7C-F120-4EC2-BBB6-755CFD6A1E2E}" presName="accentRepeatNode" presStyleLbl="solidFgAcc1" presStyleIdx="3" presStyleCnt="4"/>
      <dgm:spPr/>
    </dgm:pt>
  </dgm:ptLst>
  <dgm:cxnLst>
    <dgm:cxn modelId="{63667D07-EC23-4D8C-93C0-A8619B41CFD8}" type="presOf" srcId="{4EF33D7C-F120-4EC2-BBB6-755CFD6A1E2E}" destId="{1FDC411C-02BA-45E8-B923-88980790A40B}" srcOrd="0" destOrd="0" presId="urn:microsoft.com/office/officeart/2008/layout/VerticalCurvedList"/>
    <dgm:cxn modelId="{EEC4E808-93AA-4CC1-AD0F-4EDA6A5B2FE5}" type="presOf" srcId="{9421946A-8294-45DA-B4FD-839368891240}" destId="{8E563F5C-A2AA-48BE-A9D5-DD114927CD90}" srcOrd="0" destOrd="0" presId="urn:microsoft.com/office/officeart/2008/layout/VerticalCurvedList"/>
    <dgm:cxn modelId="{CFBBD536-4176-4494-A2AA-10BA52F554A8}" srcId="{20DB4682-2FEE-443F-AAA4-33E73F4784F4}" destId="{4EF33D7C-F120-4EC2-BBB6-755CFD6A1E2E}" srcOrd="3" destOrd="0" parTransId="{DF865E1D-F46C-423E-83CB-D2BA788AEB54}" sibTransId="{A88EBE65-FE22-4A12-89E6-921CEFF169D1}"/>
    <dgm:cxn modelId="{63A7C337-E7FE-4BAA-B171-FBA883A57E92}" type="presOf" srcId="{063983B8-974D-4846-9A26-0A273A6827EF}" destId="{F6FA7466-EC54-43A3-B052-83457BF991F4}" srcOrd="0" destOrd="0" presId="urn:microsoft.com/office/officeart/2008/layout/VerticalCurvedList"/>
    <dgm:cxn modelId="{A2D2773A-79BB-44B6-8712-EAB38092DBF3}" type="presOf" srcId="{20DB4682-2FEE-443F-AAA4-33E73F4784F4}" destId="{EE653393-1E03-428C-8F59-58FE59F537D7}" srcOrd="0" destOrd="0" presId="urn:microsoft.com/office/officeart/2008/layout/VerticalCurvedList"/>
    <dgm:cxn modelId="{884A71A5-5901-4537-8CB4-2571494DA4FA}" type="presOf" srcId="{72BBC14C-F283-4FDC-A1DB-1F6E2519BBB9}" destId="{C8323F85-A571-4040-9188-C7AFBE906E6B}" srcOrd="0" destOrd="0" presId="urn:microsoft.com/office/officeart/2008/layout/VerticalCurvedList"/>
    <dgm:cxn modelId="{1A114DAB-6AC8-4C58-A42D-43082E38E4CC}" type="presOf" srcId="{B74F5C26-119E-4AC4-A2F8-816C5E8998C4}" destId="{8E0C5494-41A5-4913-B139-2B3178A733D1}" srcOrd="0" destOrd="0" presId="urn:microsoft.com/office/officeart/2008/layout/VerticalCurvedList"/>
    <dgm:cxn modelId="{29D8FAC5-B955-49E1-919B-C22BF311DC58}" srcId="{20DB4682-2FEE-443F-AAA4-33E73F4784F4}" destId="{72BBC14C-F283-4FDC-A1DB-1F6E2519BBB9}" srcOrd="0" destOrd="0" parTransId="{2B32770D-6818-40E6-A031-165876797BE4}" sibTransId="{063983B8-974D-4846-9A26-0A273A6827EF}"/>
    <dgm:cxn modelId="{41BDB7EA-AA8F-4F4F-A397-86C9346F704D}" srcId="{20DB4682-2FEE-443F-AAA4-33E73F4784F4}" destId="{B74F5C26-119E-4AC4-A2F8-816C5E8998C4}" srcOrd="1" destOrd="0" parTransId="{4589ABB0-29DD-4117-AD8A-B3D6AE3AD38E}" sibTransId="{2724BD56-04F9-4656-AE88-90A74D10AAED}"/>
    <dgm:cxn modelId="{0415A9F9-221A-4AE0-8CD0-9642DE952239}" srcId="{20DB4682-2FEE-443F-AAA4-33E73F4784F4}" destId="{9421946A-8294-45DA-B4FD-839368891240}" srcOrd="2" destOrd="0" parTransId="{90B4BC9C-FF19-4D6B-89D4-20B84766A9BB}" sibTransId="{AB4D9C18-BF46-4DE9-B0DD-D683655C28C0}"/>
    <dgm:cxn modelId="{B4877A46-690E-4726-8F80-667D5C83E64E}" type="presParOf" srcId="{EE653393-1E03-428C-8F59-58FE59F537D7}" destId="{165A6E12-5940-481F-A5A5-CE8FD8241AD9}" srcOrd="0" destOrd="0" presId="urn:microsoft.com/office/officeart/2008/layout/VerticalCurvedList"/>
    <dgm:cxn modelId="{06392F74-5580-48BE-9A36-FC2199181329}" type="presParOf" srcId="{165A6E12-5940-481F-A5A5-CE8FD8241AD9}" destId="{7A1A1ACC-1F95-4E3B-99F7-E233A8642F3D}" srcOrd="0" destOrd="0" presId="urn:microsoft.com/office/officeart/2008/layout/VerticalCurvedList"/>
    <dgm:cxn modelId="{9EA64D05-27CB-4D40-8FB4-C829C771E482}" type="presParOf" srcId="{7A1A1ACC-1F95-4E3B-99F7-E233A8642F3D}" destId="{F475334D-1834-4054-A845-0EA42D05BDB7}" srcOrd="0" destOrd="0" presId="urn:microsoft.com/office/officeart/2008/layout/VerticalCurvedList"/>
    <dgm:cxn modelId="{46DC60C8-7A97-4037-AD02-B920C67526A2}" type="presParOf" srcId="{7A1A1ACC-1F95-4E3B-99F7-E233A8642F3D}" destId="{F6FA7466-EC54-43A3-B052-83457BF991F4}" srcOrd="1" destOrd="0" presId="urn:microsoft.com/office/officeart/2008/layout/VerticalCurvedList"/>
    <dgm:cxn modelId="{ADFC9B93-3E46-4C43-AC5E-85C5C2E332F5}" type="presParOf" srcId="{7A1A1ACC-1F95-4E3B-99F7-E233A8642F3D}" destId="{0DEF22BD-3F31-4099-AF67-EDF83FB5E5D0}" srcOrd="2" destOrd="0" presId="urn:microsoft.com/office/officeart/2008/layout/VerticalCurvedList"/>
    <dgm:cxn modelId="{7B28EBEA-D84C-4C0B-A9C9-6582CE9CDD41}" type="presParOf" srcId="{7A1A1ACC-1F95-4E3B-99F7-E233A8642F3D}" destId="{0AB16310-DABB-4F32-8BCD-15F5FAF10C35}" srcOrd="3" destOrd="0" presId="urn:microsoft.com/office/officeart/2008/layout/VerticalCurvedList"/>
    <dgm:cxn modelId="{A6566792-B0DA-438C-B70C-A6B270FA58D8}" type="presParOf" srcId="{165A6E12-5940-481F-A5A5-CE8FD8241AD9}" destId="{C8323F85-A571-4040-9188-C7AFBE906E6B}" srcOrd="1" destOrd="0" presId="urn:microsoft.com/office/officeart/2008/layout/VerticalCurvedList"/>
    <dgm:cxn modelId="{C78BDA2A-8B6E-43FA-8F3B-281035C9ED3B}" type="presParOf" srcId="{165A6E12-5940-481F-A5A5-CE8FD8241AD9}" destId="{F56D3086-4E11-4378-8564-11108B89F2C4}" srcOrd="2" destOrd="0" presId="urn:microsoft.com/office/officeart/2008/layout/VerticalCurvedList"/>
    <dgm:cxn modelId="{700093EC-4EAD-479A-93B8-CCEF4CBC5B54}" type="presParOf" srcId="{F56D3086-4E11-4378-8564-11108B89F2C4}" destId="{DB8D3C4C-B3C3-45B5-895A-2EC863028C87}" srcOrd="0" destOrd="0" presId="urn:microsoft.com/office/officeart/2008/layout/VerticalCurvedList"/>
    <dgm:cxn modelId="{FC20FC50-A1E3-4459-83FB-3000E01F8B59}" type="presParOf" srcId="{165A6E12-5940-481F-A5A5-CE8FD8241AD9}" destId="{8E0C5494-41A5-4913-B139-2B3178A733D1}" srcOrd="3" destOrd="0" presId="urn:microsoft.com/office/officeart/2008/layout/VerticalCurvedList"/>
    <dgm:cxn modelId="{1C9623A5-8CF3-4F1B-AA54-5EA4D5ACE8BB}" type="presParOf" srcId="{165A6E12-5940-481F-A5A5-CE8FD8241AD9}" destId="{DBE73BD0-8BD1-4982-B594-A1F76C693E26}" srcOrd="4" destOrd="0" presId="urn:microsoft.com/office/officeart/2008/layout/VerticalCurvedList"/>
    <dgm:cxn modelId="{B491441A-66ED-46B8-A4DD-BE4A6C6EBCB4}" type="presParOf" srcId="{DBE73BD0-8BD1-4982-B594-A1F76C693E26}" destId="{448F5F64-2EE7-4ED4-B2A6-BAE951401BC7}" srcOrd="0" destOrd="0" presId="urn:microsoft.com/office/officeart/2008/layout/VerticalCurvedList"/>
    <dgm:cxn modelId="{48014603-B19B-41F2-A64C-C8710957C0C1}" type="presParOf" srcId="{165A6E12-5940-481F-A5A5-CE8FD8241AD9}" destId="{8E563F5C-A2AA-48BE-A9D5-DD114927CD90}" srcOrd="5" destOrd="0" presId="urn:microsoft.com/office/officeart/2008/layout/VerticalCurvedList"/>
    <dgm:cxn modelId="{EC3ADBE2-A50D-456D-8D24-938FF528BAF4}" type="presParOf" srcId="{165A6E12-5940-481F-A5A5-CE8FD8241AD9}" destId="{5602C3AA-17EC-4C6C-8A9D-B4CD3ACDAD4F}" srcOrd="6" destOrd="0" presId="urn:microsoft.com/office/officeart/2008/layout/VerticalCurvedList"/>
    <dgm:cxn modelId="{9BE3DE40-A41C-4534-BAE7-FDF54A523D43}" type="presParOf" srcId="{5602C3AA-17EC-4C6C-8A9D-B4CD3ACDAD4F}" destId="{C4799819-6E5F-496D-9037-8BCBB0A57672}" srcOrd="0" destOrd="0" presId="urn:microsoft.com/office/officeart/2008/layout/VerticalCurvedList"/>
    <dgm:cxn modelId="{CA50A4DA-A8F0-436E-B284-AAAF09642EED}" type="presParOf" srcId="{165A6E12-5940-481F-A5A5-CE8FD8241AD9}" destId="{1FDC411C-02BA-45E8-B923-88980790A40B}" srcOrd="7" destOrd="0" presId="urn:microsoft.com/office/officeart/2008/layout/VerticalCurvedList"/>
    <dgm:cxn modelId="{9C7AF205-5F6F-4CD8-A744-C5F8951BC90F}" type="presParOf" srcId="{165A6E12-5940-481F-A5A5-CE8FD8241AD9}" destId="{7D1D8033-8D5C-4653-B8FC-9C2C189C573F}" srcOrd="8" destOrd="0" presId="urn:microsoft.com/office/officeart/2008/layout/VerticalCurvedList"/>
    <dgm:cxn modelId="{94E111C5-3A81-40D0-B896-04E01C35E63C}" type="presParOf" srcId="{7D1D8033-8D5C-4653-B8FC-9C2C189C573F}" destId="{1759FA6D-2292-457C-AD0C-7D5F4838E4D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FA7466-EC54-43A3-B052-83457BF991F4}">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8323F85-A571-4040-9188-C7AFBE906E6B}">
      <dsp:nvSpPr>
        <dsp:cNvPr id="0" name=""/>
        <dsp:cNvSpPr/>
      </dsp:nvSpPr>
      <dsp:spPr>
        <a:xfrm>
          <a:off x="618913" y="475556"/>
          <a:ext cx="7440913" cy="833607"/>
        </a:xfrm>
        <a:prstGeom prst="rect">
          <a:avLst/>
        </a:prstGeom>
        <a:solidFill>
          <a:schemeClr val="accen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5720" rIns="45720" bIns="45720" numCol="1" spcCol="1270" anchor="ctr" anchorCtr="0">
          <a:noAutofit/>
        </a:bodyPr>
        <a:lstStyle/>
        <a:p>
          <a:pPr marL="0" lvl="0" indent="0" algn="l" defTabSz="800100">
            <a:lnSpc>
              <a:spcPct val="90000"/>
            </a:lnSpc>
            <a:spcBef>
              <a:spcPct val="0"/>
            </a:spcBef>
            <a:spcAft>
              <a:spcPct val="35000"/>
            </a:spcAft>
            <a:buNone/>
          </a:pPr>
          <a:r>
            <a:rPr lang="en-BE" sz="1800" b="1" kern="1200" noProof="0" dirty="0"/>
            <a:t>Connecting factor for being subject to CIT on worldwide income </a:t>
          </a:r>
        </a:p>
      </dsp:txBody>
      <dsp:txXfrm>
        <a:off x="618913" y="475556"/>
        <a:ext cx="7440913" cy="833607"/>
      </dsp:txXfrm>
    </dsp:sp>
    <dsp:sp modelId="{DB8D3C4C-B3C3-45B5-895A-2EC863028C87}">
      <dsp:nvSpPr>
        <dsp:cNvPr id="0" name=""/>
        <dsp:cNvSpPr/>
      </dsp:nvSpPr>
      <dsp:spPr>
        <a:xfrm>
          <a:off x="89500" y="312386"/>
          <a:ext cx="1042009" cy="10420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0C5494-41A5-4913-B139-2B3178A733D1}">
      <dsp:nvSpPr>
        <dsp:cNvPr id="0" name=""/>
        <dsp:cNvSpPr/>
      </dsp:nvSpPr>
      <dsp:spPr>
        <a:xfrm>
          <a:off x="1096786" y="1726184"/>
          <a:ext cx="6962986" cy="833607"/>
        </a:xfrm>
        <a:prstGeom prst="rect">
          <a:avLst/>
        </a:prstGeom>
        <a:solidFill>
          <a:schemeClr val="accent2">
            <a:alpha val="8000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5720" rIns="45720" bIns="45720" numCol="1" spcCol="1270" anchor="ctr" anchorCtr="0">
          <a:noAutofit/>
        </a:bodyPr>
        <a:lstStyle/>
        <a:p>
          <a:pPr marL="0" lvl="0" indent="0" algn="l" defTabSz="800100">
            <a:lnSpc>
              <a:spcPct val="90000"/>
            </a:lnSpc>
            <a:spcBef>
              <a:spcPct val="0"/>
            </a:spcBef>
            <a:spcAft>
              <a:spcPct val="35000"/>
            </a:spcAft>
            <a:buNone/>
          </a:pPr>
          <a:r>
            <a:rPr lang="en-BE" sz="1800" b="1" kern="1200" noProof="0" dirty="0"/>
            <a:t>Connecting factor for source taxation</a:t>
          </a:r>
        </a:p>
      </dsp:txBody>
      <dsp:txXfrm>
        <a:off x="1096786" y="1726184"/>
        <a:ext cx="6962986" cy="833607"/>
      </dsp:txXfrm>
    </dsp:sp>
    <dsp:sp modelId="{448F5F64-2EE7-4ED4-B2A6-BAE951401BC7}">
      <dsp:nvSpPr>
        <dsp:cNvPr id="0" name=""/>
        <dsp:cNvSpPr/>
      </dsp:nvSpPr>
      <dsp:spPr>
        <a:xfrm>
          <a:off x="567426" y="1563014"/>
          <a:ext cx="1042009" cy="10420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13333"/>
            </a:schemeClr>
          </a:solidFill>
          <a:prstDash val="solid"/>
          <a:miter lim="800000"/>
        </a:ln>
        <a:effectLst/>
      </dsp:spPr>
      <dsp:style>
        <a:lnRef idx="2">
          <a:scrgbClr r="0" g="0" b="0"/>
        </a:lnRef>
        <a:fillRef idx="1">
          <a:scrgbClr r="0" g="0" b="0"/>
        </a:fillRef>
        <a:effectRef idx="0">
          <a:scrgbClr r="0" g="0" b="0"/>
        </a:effectRef>
        <a:fontRef idx="minor"/>
      </dsp:style>
    </dsp:sp>
    <dsp:sp modelId="{8E563F5C-A2AA-48BE-A9D5-DD114927CD90}">
      <dsp:nvSpPr>
        <dsp:cNvPr id="0" name=""/>
        <dsp:cNvSpPr/>
      </dsp:nvSpPr>
      <dsp:spPr>
        <a:xfrm>
          <a:off x="1038994" y="3020961"/>
          <a:ext cx="6962986" cy="833607"/>
        </a:xfrm>
        <a:prstGeom prst="rect">
          <a:avLst/>
        </a:prstGeom>
        <a:solidFill>
          <a:schemeClr val="bg2">
            <a:alpha val="7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5720" rIns="45720" bIns="4572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prstClr val="white"/>
              </a:solidFill>
              <a:latin typeface="Arial" panose="020B0604020202020204"/>
              <a:ea typeface="+mn-ea"/>
              <a:cs typeface="+mn-cs"/>
            </a:rPr>
            <a:t>Entitlement to double tax treaty </a:t>
          </a:r>
        </a:p>
      </dsp:txBody>
      <dsp:txXfrm>
        <a:off x="1038994" y="3020961"/>
        <a:ext cx="6962986" cy="833607"/>
      </dsp:txXfrm>
    </dsp:sp>
    <dsp:sp modelId="{C4799819-6E5F-496D-9037-8BCBB0A57672}">
      <dsp:nvSpPr>
        <dsp:cNvPr id="0" name=""/>
        <dsp:cNvSpPr/>
      </dsp:nvSpPr>
      <dsp:spPr>
        <a:xfrm>
          <a:off x="567426" y="2813642"/>
          <a:ext cx="1042009" cy="10420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26667"/>
            </a:schemeClr>
          </a:solidFill>
          <a:prstDash val="solid"/>
          <a:miter lim="800000"/>
        </a:ln>
        <a:effectLst/>
      </dsp:spPr>
      <dsp:style>
        <a:lnRef idx="2">
          <a:scrgbClr r="0" g="0" b="0"/>
        </a:lnRef>
        <a:fillRef idx="1">
          <a:scrgbClr r="0" g="0" b="0"/>
        </a:fillRef>
        <a:effectRef idx="0">
          <a:scrgbClr r="0" g="0" b="0"/>
        </a:effectRef>
        <a:fontRef idx="minor"/>
      </dsp:style>
    </dsp:sp>
    <dsp:sp modelId="{1FDC411C-02BA-45E8-B923-88980790A40B}">
      <dsp:nvSpPr>
        <dsp:cNvPr id="0" name=""/>
        <dsp:cNvSpPr/>
      </dsp:nvSpPr>
      <dsp:spPr>
        <a:xfrm>
          <a:off x="610504" y="4168472"/>
          <a:ext cx="7440913" cy="833607"/>
        </a:xfrm>
        <a:prstGeom prst="rect">
          <a:avLst/>
        </a:prstGeom>
        <a:solidFill>
          <a:srgbClr val="00A2E0">
            <a:alpha val="80000"/>
          </a:srgbClr>
        </a:solidFill>
        <a:ln w="12700" cap="flat" cmpd="sng" algn="ctr">
          <a:solidFill>
            <a:srgbClr val="06357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45720" rIns="45720" bIns="45720" numCol="1" spcCol="1270" anchor="ctr" anchorCtr="0">
          <a:noAutofit/>
        </a:bodyPr>
        <a:lstStyle/>
        <a:p>
          <a:pPr marL="0" lvl="0" indent="0" algn="l" defTabSz="800100">
            <a:lnSpc>
              <a:spcPct val="90000"/>
            </a:lnSpc>
            <a:spcBef>
              <a:spcPct val="0"/>
            </a:spcBef>
            <a:spcAft>
              <a:spcPct val="35000"/>
            </a:spcAft>
            <a:buNone/>
          </a:pPr>
          <a:r>
            <a:rPr lang="nl-NL" sz="1800" b="1" kern="1200" dirty="0">
              <a:solidFill>
                <a:prstClr val="white"/>
              </a:solidFill>
              <a:latin typeface="Arial" panose="020B0604020202020204"/>
              <a:ea typeface="+mn-ea"/>
              <a:cs typeface="+mn-cs"/>
            </a:rPr>
            <a:t>    </a:t>
          </a:r>
          <a:r>
            <a:rPr lang="en-BE" sz="1800" b="1" kern="1200" noProof="0" dirty="0">
              <a:solidFill>
                <a:prstClr val="white"/>
              </a:solidFill>
              <a:latin typeface="Arial" panose="020B0604020202020204"/>
              <a:ea typeface="+mn-ea"/>
              <a:cs typeface="+mn-cs"/>
            </a:rPr>
            <a:t>Entitlement to EU Directives</a:t>
          </a:r>
        </a:p>
      </dsp:txBody>
      <dsp:txXfrm>
        <a:off x="610504" y="4168472"/>
        <a:ext cx="7440913" cy="833607"/>
      </dsp:txXfrm>
    </dsp:sp>
    <dsp:sp modelId="{1759FA6D-2292-457C-AD0C-7D5F4838E4D3}">
      <dsp:nvSpPr>
        <dsp:cNvPr id="0" name=""/>
        <dsp:cNvSpPr/>
      </dsp:nvSpPr>
      <dsp:spPr>
        <a:xfrm>
          <a:off x="89500" y="4064271"/>
          <a:ext cx="1042009" cy="10420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A39B27C-21E7-46DB-AADC-65AF6F04B9E3}"/>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90EB3F-1D5E-4802-8C2B-0249369882D6}"/>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1AEE38F4-136A-446A-881F-5E4A0D240943}" type="datetimeFigureOut">
              <a:rPr lang="en-US" smtClean="0"/>
              <a:t>11/12/2024</a:t>
            </a:fld>
            <a:endParaRPr lang="en-US"/>
          </a:p>
        </p:txBody>
      </p:sp>
      <p:sp>
        <p:nvSpPr>
          <p:cNvPr id="4" name="Footer Placeholder 3">
            <a:extLst>
              <a:ext uri="{FF2B5EF4-FFF2-40B4-BE49-F238E27FC236}">
                <a16:creationId xmlns:a16="http://schemas.microsoft.com/office/drawing/2014/main" id="{60D9175A-0E5D-40D0-89B2-95A05A9201DA}"/>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C67EE4-06F6-4F8E-9D6C-6B938DBD0933}"/>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6ACDCC6B-7579-4FEC-BA9A-5B2623130E35}" type="slidenum">
              <a:rPr lang="en-US" smtClean="0"/>
              <a:t>‹#›</a:t>
            </a:fld>
            <a:endParaRPr lang="en-US"/>
          </a:p>
        </p:txBody>
      </p:sp>
    </p:spTree>
    <p:extLst>
      <p:ext uri="{BB962C8B-B14F-4D97-AF65-F5344CB8AC3E}">
        <p14:creationId xmlns:p14="http://schemas.microsoft.com/office/powerpoint/2010/main" val="1610185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A85BDABA-4C6D-4502-8288-533C559A50B5}" type="datetimeFigureOut">
              <a:rPr lang="en-GB" smtClean="0"/>
              <a:t>12/11/2024</a:t>
            </a:fld>
            <a:endParaRPr lang="en-GB"/>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9ABC3562-DFB5-4717-A32E-6B60A89AF6A9}" type="slidenum">
              <a:rPr lang="en-GB" smtClean="0"/>
              <a:t>‹#›</a:t>
            </a:fld>
            <a:endParaRPr lang="en-GB"/>
          </a:p>
        </p:txBody>
      </p:sp>
    </p:spTree>
    <p:extLst>
      <p:ext uri="{BB962C8B-B14F-4D97-AF65-F5344CB8AC3E}">
        <p14:creationId xmlns:p14="http://schemas.microsoft.com/office/powerpoint/2010/main" val="23362234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err="1"/>
          </a:p>
        </p:txBody>
      </p:sp>
      <p:sp>
        <p:nvSpPr>
          <p:cNvPr id="4" name="Slide Number Placeholder 3"/>
          <p:cNvSpPr>
            <a:spLocks noGrp="1"/>
          </p:cNvSpPr>
          <p:nvPr>
            <p:ph type="sldNum" sz="quarter" idx="5"/>
          </p:nvPr>
        </p:nvSpPr>
        <p:spPr/>
        <p:txBody>
          <a:bodyPr/>
          <a:lstStyle/>
          <a:p>
            <a:fld id="{9ABC3562-DFB5-4717-A32E-6B60A89AF6A9}" type="slidenum">
              <a:rPr lang="en-GB" smtClean="0"/>
              <a:t>1</a:t>
            </a:fld>
            <a:endParaRPr lang="en-GB"/>
          </a:p>
        </p:txBody>
      </p:sp>
    </p:spTree>
    <p:extLst>
      <p:ext uri="{BB962C8B-B14F-4D97-AF65-F5344CB8AC3E}">
        <p14:creationId xmlns:p14="http://schemas.microsoft.com/office/powerpoint/2010/main" val="2625881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1</a:t>
            </a:fld>
            <a:endParaRPr lang="en-GB"/>
          </a:p>
        </p:txBody>
      </p:sp>
    </p:spTree>
    <p:extLst>
      <p:ext uri="{BB962C8B-B14F-4D97-AF65-F5344CB8AC3E}">
        <p14:creationId xmlns:p14="http://schemas.microsoft.com/office/powerpoint/2010/main" val="247794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3</a:t>
            </a:fld>
            <a:endParaRPr lang="en-GB"/>
          </a:p>
        </p:txBody>
      </p:sp>
    </p:spTree>
    <p:extLst>
      <p:ext uri="{BB962C8B-B14F-4D97-AF65-F5344CB8AC3E}">
        <p14:creationId xmlns:p14="http://schemas.microsoft.com/office/powerpoint/2010/main" val="3315947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4</a:t>
            </a:fld>
            <a:endParaRPr lang="en-GB"/>
          </a:p>
        </p:txBody>
      </p:sp>
    </p:spTree>
    <p:extLst>
      <p:ext uri="{BB962C8B-B14F-4D97-AF65-F5344CB8AC3E}">
        <p14:creationId xmlns:p14="http://schemas.microsoft.com/office/powerpoint/2010/main" val="3166870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5</a:t>
            </a:fld>
            <a:endParaRPr lang="en-GB"/>
          </a:p>
        </p:txBody>
      </p:sp>
    </p:spTree>
    <p:extLst>
      <p:ext uri="{BB962C8B-B14F-4D97-AF65-F5344CB8AC3E}">
        <p14:creationId xmlns:p14="http://schemas.microsoft.com/office/powerpoint/2010/main" val="407228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BC3562-DFB5-4717-A32E-6B60A89AF6A9}"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3455985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8</a:t>
            </a:fld>
            <a:endParaRPr lang="en-GB"/>
          </a:p>
        </p:txBody>
      </p:sp>
    </p:spTree>
    <p:extLst>
      <p:ext uri="{BB962C8B-B14F-4D97-AF65-F5344CB8AC3E}">
        <p14:creationId xmlns:p14="http://schemas.microsoft.com/office/powerpoint/2010/main" val="385449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9</a:t>
            </a:fld>
            <a:endParaRPr lang="en-GB"/>
          </a:p>
        </p:txBody>
      </p:sp>
    </p:spTree>
    <p:extLst>
      <p:ext uri="{BB962C8B-B14F-4D97-AF65-F5344CB8AC3E}">
        <p14:creationId xmlns:p14="http://schemas.microsoft.com/office/powerpoint/2010/main" val="21939948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20</a:t>
            </a:fld>
            <a:endParaRPr lang="en-GB"/>
          </a:p>
        </p:txBody>
      </p:sp>
    </p:spTree>
    <p:extLst>
      <p:ext uri="{BB962C8B-B14F-4D97-AF65-F5344CB8AC3E}">
        <p14:creationId xmlns:p14="http://schemas.microsoft.com/office/powerpoint/2010/main" val="810864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21</a:t>
            </a:fld>
            <a:endParaRPr lang="en-GB"/>
          </a:p>
        </p:txBody>
      </p:sp>
    </p:spTree>
    <p:extLst>
      <p:ext uri="{BB962C8B-B14F-4D97-AF65-F5344CB8AC3E}">
        <p14:creationId xmlns:p14="http://schemas.microsoft.com/office/powerpoint/2010/main" val="3693955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9ABC3562-DFB5-4717-A32E-6B60A89AF6A9}" type="slidenum">
              <a:rPr lang="en-GB" smtClean="0"/>
              <a:t>22</a:t>
            </a:fld>
            <a:endParaRPr lang="en-GB"/>
          </a:p>
        </p:txBody>
      </p:sp>
    </p:spTree>
    <p:extLst>
      <p:ext uri="{BB962C8B-B14F-4D97-AF65-F5344CB8AC3E}">
        <p14:creationId xmlns:p14="http://schemas.microsoft.com/office/powerpoint/2010/main" val="3515535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9ABC3562-DFB5-4717-A32E-6B60A89AF6A9}" type="slidenum">
              <a:rPr lang="en-GB" smtClean="0"/>
              <a:t>3</a:t>
            </a:fld>
            <a:endParaRPr lang="en-GB"/>
          </a:p>
        </p:txBody>
      </p:sp>
    </p:spTree>
    <p:extLst>
      <p:ext uri="{BB962C8B-B14F-4D97-AF65-F5344CB8AC3E}">
        <p14:creationId xmlns:p14="http://schemas.microsoft.com/office/powerpoint/2010/main" val="2343408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926322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9ABC3562-DFB5-4717-A32E-6B60A89AF6A9}" type="slidenum">
              <a:rPr lang="en-GB" smtClean="0"/>
              <a:t>24</a:t>
            </a:fld>
            <a:endParaRPr lang="en-GB"/>
          </a:p>
        </p:txBody>
      </p:sp>
    </p:spTree>
    <p:extLst>
      <p:ext uri="{BB962C8B-B14F-4D97-AF65-F5344CB8AC3E}">
        <p14:creationId xmlns:p14="http://schemas.microsoft.com/office/powerpoint/2010/main" val="2189229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endParaRPr/>
          </a:p>
        </p:txBody>
      </p:sp>
      <p:sp>
        <p:nvSpPr>
          <p:cNvPr id="4" name="Slide Number Placeholder 3"/>
          <p:cNvSpPr>
            <a:spLocks noGrp="1"/>
          </p:cNvSpPr>
          <p:nvPr>
            <p:ph type="sldNum" sz="quarter" idx="10"/>
          </p:nvPr>
        </p:nvSpPr>
        <p:spPr/>
        <p:txBody>
          <a:bodyPr/>
          <a:lstStyle/>
          <a:p>
            <a:fld id="{9ABC3562-DFB5-4717-A32E-6B60A89AF6A9}" type="slidenum">
              <a:rPr lang="en-GB" smtClean="0"/>
              <a:t>4</a:t>
            </a:fld>
            <a:endParaRPr lang="en-GB"/>
          </a:p>
        </p:txBody>
      </p:sp>
    </p:spTree>
    <p:extLst>
      <p:ext uri="{BB962C8B-B14F-4D97-AF65-F5344CB8AC3E}">
        <p14:creationId xmlns:p14="http://schemas.microsoft.com/office/powerpoint/2010/main" val="164731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nda</a:t>
            </a:r>
            <a:endParaRPr lang="en-NL"/>
          </a:p>
        </p:txBody>
      </p:sp>
      <p:sp>
        <p:nvSpPr>
          <p:cNvPr id="4" name="Slide Number Placeholder 3"/>
          <p:cNvSpPr>
            <a:spLocks noGrp="1"/>
          </p:cNvSpPr>
          <p:nvPr>
            <p:ph type="sldNum" sz="quarter" idx="5"/>
          </p:nvPr>
        </p:nvSpPr>
        <p:spPr/>
        <p:txBody>
          <a:bodyPr/>
          <a:lstStyle/>
          <a:p>
            <a:fld id="{9ABC3562-DFB5-4717-A32E-6B60A89AF6A9}" type="slidenum">
              <a:rPr lang="en-GB" smtClean="0"/>
              <a:t>5</a:t>
            </a:fld>
            <a:endParaRPr lang="en-GB"/>
          </a:p>
        </p:txBody>
      </p:sp>
    </p:spTree>
    <p:extLst>
      <p:ext uri="{BB962C8B-B14F-4D97-AF65-F5344CB8AC3E}">
        <p14:creationId xmlns:p14="http://schemas.microsoft.com/office/powerpoint/2010/main" val="1496032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BC3562-DFB5-4717-A32E-6B60A89AF6A9}" type="slidenum">
              <a:rPr lang="en-GB" smtClean="0"/>
              <a:t>6</a:t>
            </a:fld>
            <a:endParaRPr lang="en-GB"/>
          </a:p>
        </p:txBody>
      </p:sp>
    </p:spTree>
    <p:extLst>
      <p:ext uri="{BB962C8B-B14F-4D97-AF65-F5344CB8AC3E}">
        <p14:creationId xmlns:p14="http://schemas.microsoft.com/office/powerpoint/2010/main" val="2754837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7</a:t>
            </a:fld>
            <a:endParaRPr lang="en-GB"/>
          </a:p>
        </p:txBody>
      </p:sp>
    </p:spTree>
    <p:extLst>
      <p:ext uri="{BB962C8B-B14F-4D97-AF65-F5344CB8AC3E}">
        <p14:creationId xmlns:p14="http://schemas.microsoft.com/office/powerpoint/2010/main" val="2388649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8</a:t>
            </a:fld>
            <a:endParaRPr lang="en-GB"/>
          </a:p>
        </p:txBody>
      </p:sp>
    </p:spTree>
    <p:extLst>
      <p:ext uri="{BB962C8B-B14F-4D97-AF65-F5344CB8AC3E}">
        <p14:creationId xmlns:p14="http://schemas.microsoft.com/office/powerpoint/2010/main" val="3108585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9</a:t>
            </a:fld>
            <a:endParaRPr lang="en-GB"/>
          </a:p>
        </p:txBody>
      </p:sp>
    </p:spTree>
    <p:extLst>
      <p:ext uri="{BB962C8B-B14F-4D97-AF65-F5344CB8AC3E}">
        <p14:creationId xmlns:p14="http://schemas.microsoft.com/office/powerpoint/2010/main" val="4119571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b="0" dirty="0"/>
          </a:p>
        </p:txBody>
      </p:sp>
      <p:sp>
        <p:nvSpPr>
          <p:cNvPr id="4" name="Slide Number Placeholder 3"/>
          <p:cNvSpPr>
            <a:spLocks noGrp="1"/>
          </p:cNvSpPr>
          <p:nvPr>
            <p:ph type="sldNum" sz="quarter" idx="5"/>
          </p:nvPr>
        </p:nvSpPr>
        <p:spPr/>
        <p:txBody>
          <a:bodyPr/>
          <a:lstStyle/>
          <a:p>
            <a:fld id="{9ABC3562-DFB5-4717-A32E-6B60A89AF6A9}" type="slidenum">
              <a:rPr lang="en-GB" smtClean="0"/>
              <a:t>10</a:t>
            </a:fld>
            <a:endParaRPr lang="en-GB"/>
          </a:p>
        </p:txBody>
      </p:sp>
    </p:spTree>
    <p:extLst>
      <p:ext uri="{BB962C8B-B14F-4D97-AF65-F5344CB8AC3E}">
        <p14:creationId xmlns:p14="http://schemas.microsoft.com/office/powerpoint/2010/main" val="31054242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LL Coversheet">
    <p:spTree>
      <p:nvGrpSpPr>
        <p:cNvPr id="1" name=""/>
        <p:cNvGrpSpPr/>
        <p:nvPr/>
      </p:nvGrpSpPr>
      <p:grpSpPr>
        <a:xfrm>
          <a:off x="0" y="0"/>
          <a:ext cx="0" cy="0"/>
          <a:chOff x="0" y="0"/>
          <a:chExt cx="0" cy="0"/>
        </a:xfrm>
      </p:grpSpPr>
      <p:sp>
        <p:nvSpPr>
          <p:cNvPr id="3" name="Ondertitel 2"/>
          <p:cNvSpPr>
            <a:spLocks noGrp="1"/>
          </p:cNvSpPr>
          <p:nvPr>
            <p:ph type="subTitle" idx="1" hasCustomPrompt="1"/>
          </p:nvPr>
        </p:nvSpPr>
        <p:spPr>
          <a:xfrm>
            <a:off x="730675" y="3156632"/>
            <a:ext cx="3169081" cy="215444"/>
          </a:xfrm>
          <a:prstGeom prst="rect">
            <a:avLst/>
          </a:prstGeom>
        </p:spPr>
        <p:txBody>
          <a:bodyPr wrap="square" anchor="t" anchorCtr="0">
            <a:spAutoFit/>
          </a:bodyPr>
          <a:lstStyle>
            <a:lvl1pPr marL="0" indent="0" algn="l">
              <a:lnSpc>
                <a:spcPct val="100000"/>
              </a:lnSpc>
              <a:spcBef>
                <a:spcPts val="0"/>
              </a:spcBef>
              <a:buNone/>
              <a:defRPr sz="1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Sub title style</a:t>
            </a:r>
            <a:endParaRPr lang="en-GB" dirty="0"/>
          </a:p>
        </p:txBody>
      </p:sp>
      <p:sp>
        <p:nvSpPr>
          <p:cNvPr id="33" name="Text Placeholder 32"/>
          <p:cNvSpPr>
            <a:spLocks noGrp="1"/>
          </p:cNvSpPr>
          <p:nvPr>
            <p:ph type="body" sz="quarter" idx="14" hasCustomPrompt="1"/>
          </p:nvPr>
        </p:nvSpPr>
        <p:spPr>
          <a:xfrm>
            <a:off x="730675" y="5506082"/>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a:t>Name </a:t>
            </a:r>
            <a:r>
              <a:rPr lang="en-GB" dirty="0" err="1"/>
              <a:t>presentor</a:t>
            </a:r>
            <a:r>
              <a:rPr lang="en-GB" dirty="0"/>
              <a:t>(s)</a:t>
            </a:r>
          </a:p>
        </p:txBody>
      </p:sp>
      <p:grpSp>
        <p:nvGrpSpPr>
          <p:cNvPr id="10" name="Group 9">
            <a:extLst>
              <a:ext uri="{FF2B5EF4-FFF2-40B4-BE49-F238E27FC236}">
                <a16:creationId xmlns:a16="http://schemas.microsoft.com/office/drawing/2014/main" id="{DD0F3853-5A1D-DAC4-3918-11AC27A1A23D}"/>
              </a:ext>
            </a:extLst>
          </p:cNvPr>
          <p:cNvGrpSpPr/>
          <p:nvPr userDrawn="1"/>
        </p:nvGrpSpPr>
        <p:grpSpPr>
          <a:xfrm>
            <a:off x="9624392" y="277699"/>
            <a:ext cx="2003339" cy="504460"/>
            <a:chOff x="756000" y="277699"/>
            <a:chExt cx="2003339" cy="504460"/>
          </a:xfrm>
        </p:grpSpPr>
        <p:grpSp>
          <p:nvGrpSpPr>
            <p:cNvPr id="11" name="Graphic 3">
              <a:extLst>
                <a:ext uri="{FF2B5EF4-FFF2-40B4-BE49-F238E27FC236}">
                  <a16:creationId xmlns:a16="http://schemas.microsoft.com/office/drawing/2014/main" id="{5A939B7B-93C4-1864-4488-C70AF692FABC}"/>
                </a:ext>
              </a:extLst>
            </p:cNvPr>
            <p:cNvGrpSpPr/>
            <p:nvPr/>
          </p:nvGrpSpPr>
          <p:grpSpPr>
            <a:xfrm>
              <a:off x="756000" y="277699"/>
              <a:ext cx="2003339" cy="317260"/>
              <a:chOff x="756000" y="277699"/>
              <a:chExt cx="2003339" cy="317260"/>
            </a:xfrm>
            <a:solidFill>
              <a:srgbClr val="06357A"/>
            </a:solidFill>
          </p:grpSpPr>
          <p:sp>
            <p:nvSpPr>
              <p:cNvPr id="20" name="Freeform: Shape 19">
                <a:extLst>
                  <a:ext uri="{FF2B5EF4-FFF2-40B4-BE49-F238E27FC236}">
                    <a16:creationId xmlns:a16="http://schemas.microsoft.com/office/drawing/2014/main" id="{CD918745-4D52-E465-CB0D-F7E8B6BE9552}"/>
                  </a:ext>
                </a:extLst>
              </p:cNvPr>
              <p:cNvSpPr/>
              <p:nvPr/>
            </p:nvSpPr>
            <p:spPr>
              <a:xfrm>
                <a:off x="1749419" y="277699"/>
                <a:ext cx="204419" cy="317260"/>
              </a:xfrm>
              <a:custGeom>
                <a:avLst/>
                <a:gdLst>
                  <a:gd name="connsiteX0" fmla="*/ 182820 w 204419"/>
                  <a:gd name="connsiteY0" fmla="*/ 300101 h 317260"/>
                  <a:gd name="connsiteX1" fmla="*/ 69060 w 204419"/>
                  <a:gd name="connsiteY1" fmla="*/ 300101 h 317260"/>
                  <a:gd name="connsiteX2" fmla="*/ 69300 w 204419"/>
                  <a:gd name="connsiteY2" fmla="*/ 297761 h 317260"/>
                  <a:gd name="connsiteX3" fmla="*/ 85740 w 204419"/>
                  <a:gd name="connsiteY3" fmla="*/ 195461 h 317260"/>
                  <a:gd name="connsiteX4" fmla="*/ 102840 w 204419"/>
                  <a:gd name="connsiteY4" fmla="*/ 176141 h 317260"/>
                  <a:gd name="connsiteX5" fmla="*/ 85560 w 204419"/>
                  <a:gd name="connsiteY5" fmla="*/ 285401 h 317260"/>
                  <a:gd name="connsiteX6" fmla="*/ 85440 w 204419"/>
                  <a:gd name="connsiteY6" fmla="*/ 286541 h 317260"/>
                  <a:gd name="connsiteX7" fmla="*/ 93960 w 204419"/>
                  <a:gd name="connsiteY7" fmla="*/ 286541 h 317260"/>
                  <a:gd name="connsiteX8" fmla="*/ 93960 w 204419"/>
                  <a:gd name="connsiteY8" fmla="*/ 286721 h 317260"/>
                  <a:gd name="connsiteX9" fmla="*/ 184620 w 204419"/>
                  <a:gd name="connsiteY9" fmla="*/ 286721 h 317260"/>
                  <a:gd name="connsiteX10" fmla="*/ 182820 w 204419"/>
                  <a:gd name="connsiteY10" fmla="*/ 300101 h 317260"/>
                  <a:gd name="connsiteX11" fmla="*/ 136920 w 204419"/>
                  <a:gd name="connsiteY11" fmla="*/ 66101 h 317260"/>
                  <a:gd name="connsiteX12" fmla="*/ 138060 w 204419"/>
                  <a:gd name="connsiteY12" fmla="*/ 61601 h 317260"/>
                  <a:gd name="connsiteX13" fmla="*/ 172980 w 204419"/>
                  <a:gd name="connsiteY13" fmla="*/ 5501 h 317260"/>
                  <a:gd name="connsiteX14" fmla="*/ 190140 w 204419"/>
                  <a:gd name="connsiteY14" fmla="*/ 12581 h 317260"/>
                  <a:gd name="connsiteX15" fmla="*/ 129360 w 204419"/>
                  <a:gd name="connsiteY15" fmla="*/ 135101 h 317260"/>
                  <a:gd name="connsiteX16" fmla="*/ 124920 w 204419"/>
                  <a:gd name="connsiteY16" fmla="*/ 139421 h 317260"/>
                  <a:gd name="connsiteX17" fmla="*/ 136920 w 204419"/>
                  <a:gd name="connsiteY17" fmla="*/ 66101 h 317260"/>
                  <a:gd name="connsiteX18" fmla="*/ 104880 w 204419"/>
                  <a:gd name="connsiteY18" fmla="*/ 269501 h 317260"/>
                  <a:gd name="connsiteX19" fmla="*/ 123420 w 204419"/>
                  <a:gd name="connsiteY19" fmla="*/ 152861 h 317260"/>
                  <a:gd name="connsiteX20" fmla="*/ 130020 w 204419"/>
                  <a:gd name="connsiteY20" fmla="*/ 145061 h 317260"/>
                  <a:gd name="connsiteX21" fmla="*/ 193860 w 204419"/>
                  <a:gd name="connsiteY21" fmla="*/ 11201 h 317260"/>
                  <a:gd name="connsiteX22" fmla="*/ 171000 w 204419"/>
                  <a:gd name="connsiteY22" fmla="*/ 2141 h 317260"/>
                  <a:gd name="connsiteX23" fmla="*/ 130800 w 204419"/>
                  <a:gd name="connsiteY23" fmla="*/ 51461 h 317260"/>
                  <a:gd name="connsiteX24" fmla="*/ 127620 w 204419"/>
                  <a:gd name="connsiteY24" fmla="*/ 59141 h 317260"/>
                  <a:gd name="connsiteX25" fmla="*/ 106860 w 204419"/>
                  <a:gd name="connsiteY25" fmla="*/ 150341 h 317260"/>
                  <a:gd name="connsiteX26" fmla="*/ 105900 w 204419"/>
                  <a:gd name="connsiteY26" fmla="*/ 156281 h 317260"/>
                  <a:gd name="connsiteX27" fmla="*/ 88980 w 204419"/>
                  <a:gd name="connsiteY27" fmla="*/ 175361 h 317260"/>
                  <a:gd name="connsiteX28" fmla="*/ 103140 w 204419"/>
                  <a:gd name="connsiteY28" fmla="*/ 87341 h 317260"/>
                  <a:gd name="connsiteX29" fmla="*/ 69180 w 204419"/>
                  <a:gd name="connsiteY29" fmla="*/ 87341 h 317260"/>
                  <a:gd name="connsiteX30" fmla="*/ 68400 w 204419"/>
                  <a:gd name="connsiteY30" fmla="*/ 91181 h 317260"/>
                  <a:gd name="connsiteX31" fmla="*/ 79320 w 204419"/>
                  <a:gd name="connsiteY31" fmla="*/ 91541 h 317260"/>
                  <a:gd name="connsiteX32" fmla="*/ 84300 w 204419"/>
                  <a:gd name="connsiteY32" fmla="*/ 95861 h 317260"/>
                  <a:gd name="connsiteX33" fmla="*/ 84240 w 204419"/>
                  <a:gd name="connsiteY33" fmla="*/ 98441 h 317260"/>
                  <a:gd name="connsiteX34" fmla="*/ 68100 w 204419"/>
                  <a:gd name="connsiteY34" fmla="*/ 198821 h 317260"/>
                  <a:gd name="connsiteX35" fmla="*/ 3360 w 204419"/>
                  <a:gd name="connsiteY35" fmla="*/ 272021 h 317260"/>
                  <a:gd name="connsiteX36" fmla="*/ 0 w 204419"/>
                  <a:gd name="connsiteY36" fmla="*/ 292241 h 317260"/>
                  <a:gd name="connsiteX37" fmla="*/ 64920 w 204419"/>
                  <a:gd name="connsiteY37" fmla="*/ 218921 h 317260"/>
                  <a:gd name="connsiteX38" fmla="*/ 49080 w 204419"/>
                  <a:gd name="connsiteY38" fmla="*/ 317201 h 317260"/>
                  <a:gd name="connsiteX39" fmla="*/ 197880 w 204419"/>
                  <a:gd name="connsiteY39" fmla="*/ 317261 h 317260"/>
                  <a:gd name="connsiteX40" fmla="*/ 204420 w 204419"/>
                  <a:gd name="connsiteY40" fmla="*/ 269441 h 317260"/>
                  <a:gd name="connsiteX41" fmla="*/ 104880 w 204419"/>
                  <a:gd name="connsiteY41" fmla="*/ 269441 h 3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4419" h="317260">
                    <a:moveTo>
                      <a:pt x="182820" y="300101"/>
                    </a:moveTo>
                    <a:lnTo>
                      <a:pt x="69060" y="300101"/>
                    </a:lnTo>
                    <a:cubicBezTo>
                      <a:pt x="69060" y="299741"/>
                      <a:pt x="69420" y="297761"/>
                      <a:pt x="69300" y="297761"/>
                    </a:cubicBezTo>
                    <a:lnTo>
                      <a:pt x="85740" y="195461"/>
                    </a:lnTo>
                    <a:lnTo>
                      <a:pt x="102840" y="176141"/>
                    </a:lnTo>
                    <a:lnTo>
                      <a:pt x="85560" y="285401"/>
                    </a:lnTo>
                    <a:cubicBezTo>
                      <a:pt x="85500" y="285701"/>
                      <a:pt x="85500" y="286181"/>
                      <a:pt x="85440" y="286541"/>
                    </a:cubicBezTo>
                    <a:lnTo>
                      <a:pt x="93960" y="286541"/>
                    </a:lnTo>
                    <a:lnTo>
                      <a:pt x="93960" y="286721"/>
                    </a:lnTo>
                    <a:lnTo>
                      <a:pt x="184620" y="286721"/>
                    </a:lnTo>
                    <a:lnTo>
                      <a:pt x="182820" y="300101"/>
                    </a:lnTo>
                    <a:close/>
                    <a:moveTo>
                      <a:pt x="136920" y="66101"/>
                    </a:moveTo>
                    <a:lnTo>
                      <a:pt x="138060" y="61601"/>
                    </a:lnTo>
                    <a:cubicBezTo>
                      <a:pt x="141420" y="46361"/>
                      <a:pt x="156900" y="12401"/>
                      <a:pt x="172980" y="5501"/>
                    </a:cubicBezTo>
                    <a:cubicBezTo>
                      <a:pt x="181020" y="2021"/>
                      <a:pt x="186420" y="3881"/>
                      <a:pt x="190140" y="12581"/>
                    </a:cubicBezTo>
                    <a:cubicBezTo>
                      <a:pt x="200700" y="37001"/>
                      <a:pt x="171540" y="94001"/>
                      <a:pt x="129360" y="135101"/>
                    </a:cubicBezTo>
                    <a:cubicBezTo>
                      <a:pt x="128940" y="135701"/>
                      <a:pt x="124920" y="139961"/>
                      <a:pt x="124920" y="139421"/>
                    </a:cubicBezTo>
                    <a:cubicBezTo>
                      <a:pt x="128580" y="118481"/>
                      <a:pt x="131580" y="90101"/>
                      <a:pt x="136920" y="66101"/>
                    </a:cubicBezTo>
                    <a:moveTo>
                      <a:pt x="104880" y="269501"/>
                    </a:moveTo>
                    <a:lnTo>
                      <a:pt x="123420" y="152861"/>
                    </a:lnTo>
                    <a:cubicBezTo>
                      <a:pt x="123420" y="152861"/>
                      <a:pt x="128880" y="146201"/>
                      <a:pt x="130020" y="145061"/>
                    </a:cubicBezTo>
                    <a:cubicBezTo>
                      <a:pt x="169020" y="104561"/>
                      <a:pt x="207540" y="42701"/>
                      <a:pt x="193860" y="11201"/>
                    </a:cubicBezTo>
                    <a:cubicBezTo>
                      <a:pt x="189300" y="581"/>
                      <a:pt x="181920" y="-2599"/>
                      <a:pt x="171000" y="2141"/>
                    </a:cubicBezTo>
                    <a:cubicBezTo>
                      <a:pt x="153000" y="9941"/>
                      <a:pt x="136980" y="35501"/>
                      <a:pt x="130800" y="51461"/>
                    </a:cubicBezTo>
                    <a:cubicBezTo>
                      <a:pt x="131100" y="50621"/>
                      <a:pt x="129180" y="55361"/>
                      <a:pt x="127620" y="59141"/>
                    </a:cubicBezTo>
                    <a:cubicBezTo>
                      <a:pt x="115860" y="88301"/>
                      <a:pt x="112260" y="120521"/>
                      <a:pt x="106860" y="150341"/>
                    </a:cubicBezTo>
                    <a:cubicBezTo>
                      <a:pt x="106500" y="152501"/>
                      <a:pt x="106200" y="154421"/>
                      <a:pt x="105900" y="156281"/>
                    </a:cubicBezTo>
                    <a:lnTo>
                      <a:pt x="88980" y="175361"/>
                    </a:lnTo>
                    <a:lnTo>
                      <a:pt x="103140" y="87341"/>
                    </a:lnTo>
                    <a:lnTo>
                      <a:pt x="69180" y="87341"/>
                    </a:lnTo>
                    <a:lnTo>
                      <a:pt x="68400" y="91181"/>
                    </a:lnTo>
                    <a:cubicBezTo>
                      <a:pt x="68400" y="91181"/>
                      <a:pt x="74700" y="91001"/>
                      <a:pt x="79320" y="91541"/>
                    </a:cubicBezTo>
                    <a:cubicBezTo>
                      <a:pt x="82920" y="91961"/>
                      <a:pt x="84000" y="94721"/>
                      <a:pt x="84300" y="95861"/>
                    </a:cubicBezTo>
                    <a:cubicBezTo>
                      <a:pt x="84540" y="96701"/>
                      <a:pt x="84240" y="98441"/>
                      <a:pt x="84240" y="98441"/>
                    </a:cubicBezTo>
                    <a:lnTo>
                      <a:pt x="68100" y="198821"/>
                    </a:lnTo>
                    <a:lnTo>
                      <a:pt x="3360" y="272021"/>
                    </a:lnTo>
                    <a:lnTo>
                      <a:pt x="0" y="292241"/>
                    </a:lnTo>
                    <a:lnTo>
                      <a:pt x="64920" y="218921"/>
                    </a:lnTo>
                    <a:lnTo>
                      <a:pt x="49080" y="317201"/>
                    </a:lnTo>
                    <a:lnTo>
                      <a:pt x="197880" y="317261"/>
                    </a:lnTo>
                    <a:lnTo>
                      <a:pt x="204420" y="269441"/>
                    </a:lnTo>
                    <a:lnTo>
                      <a:pt x="104880" y="269441"/>
                    </a:lnTo>
                    <a:close/>
                  </a:path>
                </a:pathLst>
              </a:custGeom>
              <a:solidFill>
                <a:srgbClr val="06357A"/>
              </a:solidFill>
              <a:ln w="5989"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0C67B687-C3C4-2FE7-F350-D9FA9EEE522D}"/>
                  </a:ext>
                </a:extLst>
              </p:cNvPr>
              <p:cNvSpPr/>
              <p:nvPr/>
            </p:nvSpPr>
            <p:spPr>
              <a:xfrm>
                <a:off x="2018519" y="400019"/>
                <a:ext cx="101459" cy="160679"/>
              </a:xfrm>
              <a:custGeom>
                <a:avLst/>
                <a:gdLst>
                  <a:gd name="connsiteX0" fmla="*/ 0 w 101459"/>
                  <a:gd name="connsiteY0" fmla="*/ 160680 h 160679"/>
                  <a:gd name="connsiteX1" fmla="*/ 0 w 101459"/>
                  <a:gd name="connsiteY1" fmla="*/ 0 h 160679"/>
                  <a:gd name="connsiteX2" fmla="*/ 25500 w 101459"/>
                  <a:gd name="connsiteY2" fmla="*/ 0 h 160679"/>
                  <a:gd name="connsiteX3" fmla="*/ 25500 w 101459"/>
                  <a:gd name="connsiteY3" fmla="*/ 139500 h 160679"/>
                  <a:gd name="connsiteX4" fmla="*/ 101460 w 101459"/>
                  <a:gd name="connsiteY4" fmla="*/ 139500 h 160679"/>
                  <a:gd name="connsiteX5" fmla="*/ 101460 w 101459"/>
                  <a:gd name="connsiteY5"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59" h="160679">
                    <a:moveTo>
                      <a:pt x="0" y="160680"/>
                    </a:moveTo>
                    <a:lnTo>
                      <a:pt x="0" y="0"/>
                    </a:lnTo>
                    <a:lnTo>
                      <a:pt x="25500" y="0"/>
                    </a:lnTo>
                    <a:lnTo>
                      <a:pt x="25500" y="139500"/>
                    </a:lnTo>
                    <a:lnTo>
                      <a:pt x="101460" y="139500"/>
                    </a:lnTo>
                    <a:lnTo>
                      <a:pt x="101460" y="160680"/>
                    </a:lnTo>
                    <a:close/>
                  </a:path>
                </a:pathLst>
              </a:custGeom>
              <a:solidFill>
                <a:srgbClr val="06357A"/>
              </a:solidFill>
              <a:ln w="5989"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C595ECAC-AB77-752E-F059-5043FD6EA5F5}"/>
                  </a:ext>
                </a:extLst>
              </p:cNvPr>
              <p:cNvSpPr/>
              <p:nvPr/>
            </p:nvSpPr>
            <p:spPr>
              <a:xfrm>
                <a:off x="213575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2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44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1573FD05-D334-74F3-38ED-95BF84BAEF63}"/>
                  </a:ext>
                </a:extLst>
              </p:cNvPr>
              <p:cNvSpPr/>
              <p:nvPr/>
            </p:nvSpPr>
            <p:spPr>
              <a:xfrm>
                <a:off x="2363039" y="400019"/>
                <a:ext cx="101520" cy="160679"/>
              </a:xfrm>
              <a:custGeom>
                <a:avLst/>
                <a:gdLst>
                  <a:gd name="connsiteX0" fmla="*/ 0 w 101520"/>
                  <a:gd name="connsiteY0" fmla="*/ 160680 h 160679"/>
                  <a:gd name="connsiteX1" fmla="*/ 0 w 101520"/>
                  <a:gd name="connsiteY1" fmla="*/ 0 h 160679"/>
                  <a:gd name="connsiteX2" fmla="*/ 99480 w 101520"/>
                  <a:gd name="connsiteY2" fmla="*/ 0 h 160679"/>
                  <a:gd name="connsiteX3" fmla="*/ 99480 w 101520"/>
                  <a:gd name="connsiteY3" fmla="*/ 21180 h 160679"/>
                  <a:gd name="connsiteX4" fmla="*/ 25560 w 101520"/>
                  <a:gd name="connsiteY4" fmla="*/ 21180 h 160679"/>
                  <a:gd name="connsiteX5" fmla="*/ 25560 w 101520"/>
                  <a:gd name="connsiteY5" fmla="*/ 67560 h 160679"/>
                  <a:gd name="connsiteX6" fmla="*/ 86700 w 101520"/>
                  <a:gd name="connsiteY6" fmla="*/ 67560 h 160679"/>
                  <a:gd name="connsiteX7" fmla="*/ 86700 w 101520"/>
                  <a:gd name="connsiteY7" fmla="*/ 88740 h 160679"/>
                  <a:gd name="connsiteX8" fmla="*/ 25560 w 101520"/>
                  <a:gd name="connsiteY8" fmla="*/ 88740 h 160679"/>
                  <a:gd name="connsiteX9" fmla="*/ 25560 w 101520"/>
                  <a:gd name="connsiteY9" fmla="*/ 139500 h 160679"/>
                  <a:gd name="connsiteX10" fmla="*/ 101520 w 101520"/>
                  <a:gd name="connsiteY10" fmla="*/ 139500 h 160679"/>
                  <a:gd name="connsiteX11" fmla="*/ 101520 w 101520"/>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20" h="160679">
                    <a:moveTo>
                      <a:pt x="0" y="160680"/>
                    </a:moveTo>
                    <a:lnTo>
                      <a:pt x="0" y="0"/>
                    </a:lnTo>
                    <a:lnTo>
                      <a:pt x="99480" y="0"/>
                    </a:lnTo>
                    <a:lnTo>
                      <a:pt x="99480" y="21180"/>
                    </a:lnTo>
                    <a:lnTo>
                      <a:pt x="25560" y="21180"/>
                    </a:lnTo>
                    <a:lnTo>
                      <a:pt x="25560" y="67560"/>
                    </a:lnTo>
                    <a:lnTo>
                      <a:pt x="86700" y="67560"/>
                    </a:lnTo>
                    <a:lnTo>
                      <a:pt x="8670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69898778-BF5F-7934-E79E-45A6221CB45A}"/>
                  </a:ext>
                </a:extLst>
              </p:cNvPr>
              <p:cNvSpPr/>
              <p:nvPr/>
            </p:nvSpPr>
            <p:spPr>
              <a:xfrm>
                <a:off x="2513939" y="400019"/>
                <a:ext cx="99539" cy="160679"/>
              </a:xfrm>
              <a:custGeom>
                <a:avLst/>
                <a:gdLst>
                  <a:gd name="connsiteX0" fmla="*/ 25560 w 99539"/>
                  <a:gd name="connsiteY0" fmla="*/ 21180 h 160679"/>
                  <a:gd name="connsiteX1" fmla="*/ 25560 w 99539"/>
                  <a:gd name="connsiteY1" fmla="*/ 69900 h 160679"/>
                  <a:gd name="connsiteX2" fmla="*/ 86760 w 99539"/>
                  <a:gd name="connsiteY2" fmla="*/ 69900 h 160679"/>
                  <a:gd name="connsiteX3" fmla="*/ 86760 w 99539"/>
                  <a:gd name="connsiteY3" fmla="*/ 91080 h 160679"/>
                  <a:gd name="connsiteX4" fmla="*/ 25560 w 99539"/>
                  <a:gd name="connsiteY4" fmla="*/ 91080 h 160679"/>
                  <a:gd name="connsiteX5" fmla="*/ 25560 w 99539"/>
                  <a:gd name="connsiteY5" fmla="*/ 160680 h 160679"/>
                  <a:gd name="connsiteX6" fmla="*/ 0 w 99539"/>
                  <a:gd name="connsiteY6" fmla="*/ 160680 h 160679"/>
                  <a:gd name="connsiteX7" fmla="*/ 0 w 99539"/>
                  <a:gd name="connsiteY7" fmla="*/ 0 h 160679"/>
                  <a:gd name="connsiteX8" fmla="*/ 99540 w 99539"/>
                  <a:gd name="connsiteY8" fmla="*/ 0 h 160679"/>
                  <a:gd name="connsiteX9" fmla="*/ 99540 w 99539"/>
                  <a:gd name="connsiteY9" fmla="*/ 211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9" h="160679">
                    <a:moveTo>
                      <a:pt x="25560" y="21180"/>
                    </a:moveTo>
                    <a:lnTo>
                      <a:pt x="25560" y="69900"/>
                    </a:lnTo>
                    <a:lnTo>
                      <a:pt x="86760" y="69900"/>
                    </a:lnTo>
                    <a:lnTo>
                      <a:pt x="86760" y="91080"/>
                    </a:lnTo>
                    <a:lnTo>
                      <a:pt x="25560" y="91080"/>
                    </a:lnTo>
                    <a:lnTo>
                      <a:pt x="25560" y="160680"/>
                    </a:lnTo>
                    <a:lnTo>
                      <a:pt x="0" y="160680"/>
                    </a:lnTo>
                    <a:lnTo>
                      <a:pt x="0" y="0"/>
                    </a:lnTo>
                    <a:lnTo>
                      <a:pt x="99540" y="0"/>
                    </a:lnTo>
                    <a:lnTo>
                      <a:pt x="99540" y="21180"/>
                    </a:lnTo>
                    <a:close/>
                  </a:path>
                </a:pathLst>
              </a:custGeom>
              <a:solidFill>
                <a:srgbClr val="06357A"/>
              </a:solidFill>
              <a:ln w="5989"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56E00579-020E-A2C6-625B-A3E70C239C13}"/>
                  </a:ext>
                </a:extLst>
              </p:cNvPr>
              <p:cNvSpPr/>
              <p:nvPr/>
            </p:nvSpPr>
            <p:spPr>
              <a:xfrm>
                <a:off x="2659859" y="400019"/>
                <a:ext cx="99480" cy="160679"/>
              </a:xfrm>
              <a:custGeom>
                <a:avLst/>
                <a:gdLst>
                  <a:gd name="connsiteX0" fmla="*/ 0 w 99480"/>
                  <a:gd name="connsiteY0" fmla="*/ 0 h 160679"/>
                  <a:gd name="connsiteX1" fmla="*/ 0 w 99480"/>
                  <a:gd name="connsiteY1" fmla="*/ 160680 h 160679"/>
                  <a:gd name="connsiteX2" fmla="*/ 25560 w 99480"/>
                  <a:gd name="connsiteY2" fmla="*/ 160680 h 160679"/>
                  <a:gd name="connsiteX3" fmla="*/ 25560 w 99480"/>
                  <a:gd name="connsiteY3" fmla="*/ 91080 h 160679"/>
                  <a:gd name="connsiteX4" fmla="*/ 86700 w 99480"/>
                  <a:gd name="connsiteY4" fmla="*/ 91080 h 160679"/>
                  <a:gd name="connsiteX5" fmla="*/ 86700 w 99480"/>
                  <a:gd name="connsiteY5" fmla="*/ 69900 h 160679"/>
                  <a:gd name="connsiteX6" fmla="*/ 25560 w 99480"/>
                  <a:gd name="connsiteY6" fmla="*/ 69900 h 160679"/>
                  <a:gd name="connsiteX7" fmla="*/ 25560 w 99480"/>
                  <a:gd name="connsiteY7" fmla="*/ 21180 h 160679"/>
                  <a:gd name="connsiteX8" fmla="*/ 99480 w 99480"/>
                  <a:gd name="connsiteY8" fmla="*/ 21180 h 160679"/>
                  <a:gd name="connsiteX9" fmla="*/ 99480 w 99480"/>
                  <a:gd name="connsiteY9"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0" h="160679">
                    <a:moveTo>
                      <a:pt x="0" y="0"/>
                    </a:moveTo>
                    <a:lnTo>
                      <a:pt x="0" y="160680"/>
                    </a:lnTo>
                    <a:lnTo>
                      <a:pt x="25560" y="160680"/>
                    </a:lnTo>
                    <a:lnTo>
                      <a:pt x="25560" y="91080"/>
                    </a:lnTo>
                    <a:lnTo>
                      <a:pt x="86700" y="91080"/>
                    </a:lnTo>
                    <a:lnTo>
                      <a:pt x="86700" y="69900"/>
                    </a:lnTo>
                    <a:lnTo>
                      <a:pt x="25560" y="69900"/>
                    </a:lnTo>
                    <a:lnTo>
                      <a:pt x="25560" y="21180"/>
                    </a:lnTo>
                    <a:lnTo>
                      <a:pt x="99480" y="21180"/>
                    </a:lnTo>
                    <a:lnTo>
                      <a:pt x="99480" y="0"/>
                    </a:lnTo>
                    <a:close/>
                  </a:path>
                </a:pathLst>
              </a:custGeom>
              <a:solidFill>
                <a:srgbClr val="06357A"/>
              </a:solidFill>
              <a:ln w="59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10212525-01E8-B272-F017-CBCFF915FFCB}"/>
                  </a:ext>
                </a:extLst>
              </p:cNvPr>
              <p:cNvSpPr/>
              <p:nvPr/>
            </p:nvSpPr>
            <p:spPr>
              <a:xfrm>
                <a:off x="756000" y="400019"/>
                <a:ext cx="101519" cy="160679"/>
              </a:xfrm>
              <a:custGeom>
                <a:avLst/>
                <a:gdLst>
                  <a:gd name="connsiteX0" fmla="*/ 0 w 101519"/>
                  <a:gd name="connsiteY0" fmla="*/ 0 h 160679"/>
                  <a:gd name="connsiteX1" fmla="*/ 0 w 101519"/>
                  <a:gd name="connsiteY1" fmla="*/ 160680 h 160679"/>
                  <a:gd name="connsiteX2" fmla="*/ 101520 w 101519"/>
                  <a:gd name="connsiteY2" fmla="*/ 160680 h 160679"/>
                  <a:gd name="connsiteX3" fmla="*/ 101520 w 101519"/>
                  <a:gd name="connsiteY3" fmla="*/ 139500 h 160679"/>
                  <a:gd name="connsiteX4" fmla="*/ 25560 w 101519"/>
                  <a:gd name="connsiteY4" fmla="*/ 139500 h 160679"/>
                  <a:gd name="connsiteX5" fmla="*/ 25560 w 101519"/>
                  <a:gd name="connsiteY5"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19" h="160679">
                    <a:moveTo>
                      <a:pt x="0" y="0"/>
                    </a:moveTo>
                    <a:lnTo>
                      <a:pt x="0" y="160680"/>
                    </a:lnTo>
                    <a:lnTo>
                      <a:pt x="101520" y="160680"/>
                    </a:lnTo>
                    <a:lnTo>
                      <a:pt x="101520" y="139500"/>
                    </a:lnTo>
                    <a:lnTo>
                      <a:pt x="25560" y="139500"/>
                    </a:lnTo>
                    <a:lnTo>
                      <a:pt x="25560" y="0"/>
                    </a:lnTo>
                    <a:close/>
                  </a:path>
                </a:pathLst>
              </a:custGeom>
              <a:solidFill>
                <a:srgbClr val="06357A"/>
              </a:solidFill>
              <a:ln w="59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0E984B35-62DB-7F91-A648-CE89CC32AF74}"/>
                  </a:ext>
                </a:extLst>
              </p:cNvPr>
              <p:cNvSpPr/>
              <p:nvPr/>
            </p:nvSpPr>
            <p:spPr>
              <a:xfrm>
                <a:off x="87329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8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38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8968E1AB-1AE4-839B-F32C-C350F12A00AA}"/>
                  </a:ext>
                </a:extLst>
              </p:cNvPr>
              <p:cNvSpPr/>
              <p:nvPr/>
            </p:nvSpPr>
            <p:spPr>
              <a:xfrm>
                <a:off x="1069619" y="400019"/>
                <a:ext cx="143879" cy="160679"/>
              </a:xfrm>
              <a:custGeom>
                <a:avLst/>
                <a:gdLst>
                  <a:gd name="connsiteX0" fmla="*/ 82380 w 143879"/>
                  <a:gd name="connsiteY0" fmla="*/ 88740 h 160679"/>
                  <a:gd name="connsiteX1" fmla="*/ 82380 w 143879"/>
                  <a:gd name="connsiteY1" fmla="*/ 160680 h 160679"/>
                  <a:gd name="connsiteX2" fmla="*/ 57120 w 143879"/>
                  <a:gd name="connsiteY2" fmla="*/ 160680 h 160679"/>
                  <a:gd name="connsiteX3" fmla="*/ 57120 w 143879"/>
                  <a:gd name="connsiteY3" fmla="*/ 88740 h 160679"/>
                  <a:gd name="connsiteX4" fmla="*/ 0 w 143879"/>
                  <a:gd name="connsiteY4" fmla="*/ 0 h 160679"/>
                  <a:gd name="connsiteX5" fmla="*/ 29580 w 143879"/>
                  <a:gd name="connsiteY5" fmla="*/ 0 h 160679"/>
                  <a:gd name="connsiteX6" fmla="*/ 71940 w 143879"/>
                  <a:gd name="connsiteY6" fmla="*/ 65520 h 160679"/>
                  <a:gd name="connsiteX7" fmla="*/ 114300 w 143879"/>
                  <a:gd name="connsiteY7" fmla="*/ 0 h 160679"/>
                  <a:gd name="connsiteX8" fmla="*/ 143880 w 143879"/>
                  <a:gd name="connsiteY8"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79" h="160679">
                    <a:moveTo>
                      <a:pt x="82380" y="88740"/>
                    </a:moveTo>
                    <a:lnTo>
                      <a:pt x="82380" y="160680"/>
                    </a:lnTo>
                    <a:lnTo>
                      <a:pt x="57120" y="160680"/>
                    </a:lnTo>
                    <a:lnTo>
                      <a:pt x="57120" y="88740"/>
                    </a:lnTo>
                    <a:lnTo>
                      <a:pt x="0" y="0"/>
                    </a:lnTo>
                    <a:lnTo>
                      <a:pt x="29580" y="0"/>
                    </a:lnTo>
                    <a:lnTo>
                      <a:pt x="71940" y="65520"/>
                    </a:lnTo>
                    <a:lnTo>
                      <a:pt x="114300" y="0"/>
                    </a:lnTo>
                    <a:lnTo>
                      <a:pt x="143880" y="0"/>
                    </a:lnTo>
                    <a:close/>
                  </a:path>
                </a:pathLst>
              </a:custGeom>
              <a:solidFill>
                <a:srgbClr val="06357A"/>
              </a:solidFill>
              <a:ln w="5989"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6282266C-04ED-D328-DFBA-D675945D01AE}"/>
                  </a:ext>
                </a:extLst>
              </p:cNvPr>
              <p:cNvSpPr/>
              <p:nvPr/>
            </p:nvSpPr>
            <p:spPr>
              <a:xfrm>
                <a:off x="1251479" y="400019"/>
                <a:ext cx="101519" cy="160679"/>
              </a:xfrm>
              <a:custGeom>
                <a:avLst/>
                <a:gdLst>
                  <a:gd name="connsiteX0" fmla="*/ 0 w 101519"/>
                  <a:gd name="connsiteY0" fmla="*/ 160680 h 160679"/>
                  <a:gd name="connsiteX1" fmla="*/ 0 w 101519"/>
                  <a:gd name="connsiteY1" fmla="*/ 0 h 160679"/>
                  <a:gd name="connsiteX2" fmla="*/ 99480 w 101519"/>
                  <a:gd name="connsiteY2" fmla="*/ 0 h 160679"/>
                  <a:gd name="connsiteX3" fmla="*/ 99480 w 101519"/>
                  <a:gd name="connsiteY3" fmla="*/ 21180 h 160679"/>
                  <a:gd name="connsiteX4" fmla="*/ 25560 w 101519"/>
                  <a:gd name="connsiteY4" fmla="*/ 21180 h 160679"/>
                  <a:gd name="connsiteX5" fmla="*/ 25560 w 101519"/>
                  <a:gd name="connsiteY5" fmla="*/ 67560 h 160679"/>
                  <a:gd name="connsiteX6" fmla="*/ 86760 w 101519"/>
                  <a:gd name="connsiteY6" fmla="*/ 67560 h 160679"/>
                  <a:gd name="connsiteX7" fmla="*/ 86760 w 101519"/>
                  <a:gd name="connsiteY7" fmla="*/ 88740 h 160679"/>
                  <a:gd name="connsiteX8" fmla="*/ 25560 w 101519"/>
                  <a:gd name="connsiteY8" fmla="*/ 88740 h 160679"/>
                  <a:gd name="connsiteX9" fmla="*/ 25560 w 101519"/>
                  <a:gd name="connsiteY9" fmla="*/ 139500 h 160679"/>
                  <a:gd name="connsiteX10" fmla="*/ 101520 w 101519"/>
                  <a:gd name="connsiteY10" fmla="*/ 139500 h 160679"/>
                  <a:gd name="connsiteX11" fmla="*/ 101520 w 101519"/>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19" h="160679">
                    <a:moveTo>
                      <a:pt x="0" y="160680"/>
                    </a:moveTo>
                    <a:lnTo>
                      <a:pt x="0" y="0"/>
                    </a:lnTo>
                    <a:lnTo>
                      <a:pt x="99480" y="0"/>
                    </a:lnTo>
                    <a:lnTo>
                      <a:pt x="99480" y="21180"/>
                    </a:lnTo>
                    <a:lnTo>
                      <a:pt x="25560" y="21180"/>
                    </a:lnTo>
                    <a:lnTo>
                      <a:pt x="25560" y="67560"/>
                    </a:lnTo>
                    <a:lnTo>
                      <a:pt x="86760" y="67560"/>
                    </a:lnTo>
                    <a:lnTo>
                      <a:pt x="8676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A26858FE-D6D4-3A6C-CF41-2542884F89E3}"/>
                  </a:ext>
                </a:extLst>
              </p:cNvPr>
              <p:cNvSpPr/>
              <p:nvPr/>
            </p:nvSpPr>
            <p:spPr>
              <a:xfrm>
                <a:off x="1402439" y="400019"/>
                <a:ext cx="145919" cy="162719"/>
              </a:xfrm>
              <a:custGeom>
                <a:avLst/>
                <a:gdLst>
                  <a:gd name="connsiteX0" fmla="*/ 122700 w 145919"/>
                  <a:gd name="connsiteY0" fmla="*/ 162720 h 162719"/>
                  <a:gd name="connsiteX1" fmla="*/ 31920 w 145919"/>
                  <a:gd name="connsiteY1" fmla="*/ 46740 h 162719"/>
                  <a:gd name="connsiteX2" fmla="*/ 23520 w 145919"/>
                  <a:gd name="connsiteY2" fmla="*/ 31920 h 162719"/>
                  <a:gd name="connsiteX3" fmla="*/ 23520 w 145919"/>
                  <a:gd name="connsiteY3" fmla="*/ 160680 h 162719"/>
                  <a:gd name="connsiteX4" fmla="*/ 0 w 145919"/>
                  <a:gd name="connsiteY4" fmla="*/ 160680 h 162719"/>
                  <a:gd name="connsiteX5" fmla="*/ 0 w 145919"/>
                  <a:gd name="connsiteY5" fmla="*/ 0 h 162719"/>
                  <a:gd name="connsiteX6" fmla="*/ 25560 w 145919"/>
                  <a:gd name="connsiteY6" fmla="*/ 0 h 162719"/>
                  <a:gd name="connsiteX7" fmla="*/ 116340 w 145919"/>
                  <a:gd name="connsiteY7" fmla="*/ 114300 h 162719"/>
                  <a:gd name="connsiteX8" fmla="*/ 122700 w 145919"/>
                  <a:gd name="connsiteY8" fmla="*/ 129060 h 162719"/>
                  <a:gd name="connsiteX9" fmla="*/ 122700 w 145919"/>
                  <a:gd name="connsiteY9" fmla="*/ 0 h 162719"/>
                  <a:gd name="connsiteX10" fmla="*/ 145920 w 145919"/>
                  <a:gd name="connsiteY10" fmla="*/ 0 h 162719"/>
                  <a:gd name="connsiteX11" fmla="*/ 145920 w 145919"/>
                  <a:gd name="connsiteY11" fmla="*/ 162660 h 162719"/>
                  <a:gd name="connsiteX12" fmla="*/ 122700 w 145919"/>
                  <a:gd name="connsiteY12" fmla="*/ 16266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9" h="162719">
                    <a:moveTo>
                      <a:pt x="122700" y="162720"/>
                    </a:moveTo>
                    <a:lnTo>
                      <a:pt x="31920" y="46740"/>
                    </a:lnTo>
                    <a:cubicBezTo>
                      <a:pt x="26520" y="39660"/>
                      <a:pt x="24540" y="36300"/>
                      <a:pt x="23520" y="31920"/>
                    </a:cubicBezTo>
                    <a:lnTo>
                      <a:pt x="23520" y="160680"/>
                    </a:lnTo>
                    <a:lnTo>
                      <a:pt x="0" y="160680"/>
                    </a:lnTo>
                    <a:lnTo>
                      <a:pt x="0" y="0"/>
                    </a:lnTo>
                    <a:lnTo>
                      <a:pt x="25560" y="0"/>
                    </a:lnTo>
                    <a:lnTo>
                      <a:pt x="116340" y="114300"/>
                    </a:lnTo>
                    <a:cubicBezTo>
                      <a:pt x="119040" y="117960"/>
                      <a:pt x="122040" y="124020"/>
                      <a:pt x="122700" y="129060"/>
                    </a:cubicBezTo>
                    <a:lnTo>
                      <a:pt x="122700" y="0"/>
                    </a:lnTo>
                    <a:lnTo>
                      <a:pt x="145920" y="0"/>
                    </a:lnTo>
                    <a:lnTo>
                      <a:pt x="145920" y="162660"/>
                    </a:lnTo>
                    <a:lnTo>
                      <a:pt x="122700" y="162660"/>
                    </a:lnTo>
                    <a:close/>
                  </a:path>
                </a:pathLst>
              </a:custGeom>
              <a:solidFill>
                <a:srgbClr val="06357A"/>
              </a:solidFill>
              <a:ln w="59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F2A69782-2B9B-9546-01A5-9748306AE71D}"/>
                  </a:ext>
                </a:extLst>
              </p:cNvPr>
              <p:cNvSpPr/>
              <p:nvPr/>
            </p:nvSpPr>
            <p:spPr>
              <a:xfrm>
                <a:off x="1597379" y="397320"/>
                <a:ext cx="115679" cy="166319"/>
              </a:xfrm>
              <a:custGeom>
                <a:avLst/>
                <a:gdLst>
                  <a:gd name="connsiteX0" fmla="*/ 106560 w 115679"/>
                  <a:gd name="connsiteY0" fmla="*/ 34620 h 166319"/>
                  <a:gd name="connsiteX1" fmla="*/ 86400 w 115679"/>
                  <a:gd name="connsiteY1" fmla="*/ 24840 h 166319"/>
                  <a:gd name="connsiteX2" fmla="*/ 63900 w 115679"/>
                  <a:gd name="connsiteY2" fmla="*/ 21480 h 166319"/>
                  <a:gd name="connsiteX3" fmla="*/ 30960 w 115679"/>
                  <a:gd name="connsiteY3" fmla="*/ 41280 h 166319"/>
                  <a:gd name="connsiteX4" fmla="*/ 32940 w 115679"/>
                  <a:gd name="connsiteY4" fmla="*/ 49680 h 166319"/>
                  <a:gd name="connsiteX5" fmla="*/ 74280 w 115679"/>
                  <a:gd name="connsiteY5" fmla="*/ 74880 h 166319"/>
                  <a:gd name="connsiteX6" fmla="*/ 114300 w 115679"/>
                  <a:gd name="connsiteY6" fmla="*/ 120600 h 166319"/>
                  <a:gd name="connsiteX7" fmla="*/ 55800 w 115679"/>
                  <a:gd name="connsiteY7" fmla="*/ 166320 h 166319"/>
                  <a:gd name="connsiteX8" fmla="*/ 22860 w 115679"/>
                  <a:gd name="connsiteY8" fmla="*/ 161280 h 166319"/>
                  <a:gd name="connsiteX9" fmla="*/ 0 w 115679"/>
                  <a:gd name="connsiteY9" fmla="*/ 149160 h 166319"/>
                  <a:gd name="connsiteX10" fmla="*/ 11400 w 115679"/>
                  <a:gd name="connsiteY10" fmla="*/ 127320 h 166319"/>
                  <a:gd name="connsiteX11" fmla="*/ 32220 w 115679"/>
                  <a:gd name="connsiteY11" fmla="*/ 140100 h 166319"/>
                  <a:gd name="connsiteX12" fmla="*/ 58800 w 115679"/>
                  <a:gd name="connsiteY12" fmla="*/ 145500 h 166319"/>
                  <a:gd name="connsiteX13" fmla="*/ 88740 w 115679"/>
                  <a:gd name="connsiteY13" fmla="*/ 124020 h 166319"/>
                  <a:gd name="connsiteX14" fmla="*/ 70560 w 115679"/>
                  <a:gd name="connsiteY14" fmla="*/ 100140 h 166319"/>
                  <a:gd name="connsiteX15" fmla="*/ 41340 w 115679"/>
                  <a:gd name="connsiteY15" fmla="*/ 86040 h 166319"/>
                  <a:gd name="connsiteX16" fmla="*/ 5700 w 115679"/>
                  <a:gd name="connsiteY16" fmla="*/ 43680 h 166319"/>
                  <a:gd name="connsiteX17" fmla="*/ 64200 w 115679"/>
                  <a:gd name="connsiteY17" fmla="*/ 0 h 166319"/>
                  <a:gd name="connsiteX18" fmla="*/ 94140 w 115679"/>
                  <a:gd name="connsiteY18" fmla="*/ 4020 h 166319"/>
                  <a:gd name="connsiteX19" fmla="*/ 115680 w 115679"/>
                  <a:gd name="connsiteY19" fmla="*/ 13440 h 166319"/>
                  <a:gd name="connsiteX20" fmla="*/ 106560 w 115679"/>
                  <a:gd name="connsiteY20" fmla="*/ 34620 h 1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679" h="166319">
                    <a:moveTo>
                      <a:pt x="106560" y="34620"/>
                    </a:moveTo>
                    <a:cubicBezTo>
                      <a:pt x="98160" y="28920"/>
                      <a:pt x="94440" y="27240"/>
                      <a:pt x="86400" y="24840"/>
                    </a:cubicBezTo>
                    <a:cubicBezTo>
                      <a:pt x="78000" y="22140"/>
                      <a:pt x="70920" y="21480"/>
                      <a:pt x="63900" y="21480"/>
                    </a:cubicBezTo>
                    <a:cubicBezTo>
                      <a:pt x="43380" y="21480"/>
                      <a:pt x="30960" y="28860"/>
                      <a:pt x="30960" y="41280"/>
                    </a:cubicBezTo>
                    <a:cubicBezTo>
                      <a:pt x="30960" y="44640"/>
                      <a:pt x="31620" y="47700"/>
                      <a:pt x="32940" y="49680"/>
                    </a:cubicBezTo>
                    <a:cubicBezTo>
                      <a:pt x="37680" y="56760"/>
                      <a:pt x="43020" y="59760"/>
                      <a:pt x="74280" y="74880"/>
                    </a:cubicBezTo>
                    <a:cubicBezTo>
                      <a:pt x="104520" y="89640"/>
                      <a:pt x="114300" y="100740"/>
                      <a:pt x="114300" y="120600"/>
                    </a:cubicBezTo>
                    <a:cubicBezTo>
                      <a:pt x="114300" y="149160"/>
                      <a:pt x="92100" y="166320"/>
                      <a:pt x="55800" y="166320"/>
                    </a:cubicBezTo>
                    <a:cubicBezTo>
                      <a:pt x="43680" y="166320"/>
                      <a:pt x="32280" y="164640"/>
                      <a:pt x="22860" y="161280"/>
                    </a:cubicBezTo>
                    <a:cubicBezTo>
                      <a:pt x="16140" y="158580"/>
                      <a:pt x="11400" y="156240"/>
                      <a:pt x="0" y="149160"/>
                    </a:cubicBezTo>
                    <a:lnTo>
                      <a:pt x="11400" y="127320"/>
                    </a:lnTo>
                    <a:cubicBezTo>
                      <a:pt x="21480" y="134700"/>
                      <a:pt x="25860" y="137400"/>
                      <a:pt x="32220" y="140100"/>
                    </a:cubicBezTo>
                    <a:cubicBezTo>
                      <a:pt x="40320" y="143460"/>
                      <a:pt x="49680" y="145500"/>
                      <a:pt x="58800" y="145500"/>
                    </a:cubicBezTo>
                    <a:cubicBezTo>
                      <a:pt x="77640" y="145500"/>
                      <a:pt x="88740" y="137460"/>
                      <a:pt x="88740" y="124020"/>
                    </a:cubicBezTo>
                    <a:cubicBezTo>
                      <a:pt x="88740" y="113280"/>
                      <a:pt x="83340" y="106200"/>
                      <a:pt x="70560" y="100140"/>
                    </a:cubicBezTo>
                    <a:lnTo>
                      <a:pt x="41340" y="86040"/>
                    </a:lnTo>
                    <a:cubicBezTo>
                      <a:pt x="16800" y="74280"/>
                      <a:pt x="5700" y="60840"/>
                      <a:pt x="5700" y="43680"/>
                    </a:cubicBezTo>
                    <a:cubicBezTo>
                      <a:pt x="5700" y="17100"/>
                      <a:pt x="28560" y="0"/>
                      <a:pt x="64200" y="0"/>
                    </a:cubicBezTo>
                    <a:cubicBezTo>
                      <a:pt x="74640" y="0"/>
                      <a:pt x="85020" y="1320"/>
                      <a:pt x="94140" y="4020"/>
                    </a:cubicBezTo>
                    <a:cubicBezTo>
                      <a:pt x="101520" y="6060"/>
                      <a:pt x="105540" y="8040"/>
                      <a:pt x="115680" y="13440"/>
                    </a:cubicBezTo>
                    <a:lnTo>
                      <a:pt x="106560" y="34620"/>
                    </a:lnTo>
                    <a:close/>
                  </a:path>
                </a:pathLst>
              </a:custGeom>
              <a:solidFill>
                <a:srgbClr val="06357A"/>
              </a:solidFill>
              <a:ln w="5989" cap="flat">
                <a:noFill/>
                <a:prstDash val="solid"/>
                <a:miter/>
              </a:ln>
            </p:spPr>
            <p:txBody>
              <a:bodyPr rtlCol="0" anchor="ctr"/>
              <a:lstStyle/>
              <a:p>
                <a:endParaRPr lang="en-GB" dirty="0"/>
              </a:p>
            </p:txBody>
          </p:sp>
        </p:grpSp>
        <p:grpSp>
          <p:nvGrpSpPr>
            <p:cNvPr id="12" name="Graphic 3">
              <a:extLst>
                <a:ext uri="{FF2B5EF4-FFF2-40B4-BE49-F238E27FC236}">
                  <a16:creationId xmlns:a16="http://schemas.microsoft.com/office/drawing/2014/main" id="{223086F3-A46B-6784-D8E7-58FE424405A4}"/>
                </a:ext>
              </a:extLst>
            </p:cNvPr>
            <p:cNvGrpSpPr/>
            <p:nvPr/>
          </p:nvGrpSpPr>
          <p:grpSpPr>
            <a:xfrm>
              <a:off x="1619999" y="701219"/>
              <a:ext cx="481139" cy="80940"/>
              <a:chOff x="1619999" y="701219"/>
              <a:chExt cx="481139" cy="80940"/>
            </a:xfrm>
            <a:solidFill>
              <a:srgbClr val="06357A"/>
            </a:solidFill>
          </p:grpSpPr>
          <p:sp>
            <p:nvSpPr>
              <p:cNvPr id="13" name="Freeform: Shape 12">
                <a:extLst>
                  <a:ext uri="{FF2B5EF4-FFF2-40B4-BE49-F238E27FC236}">
                    <a16:creationId xmlns:a16="http://schemas.microsoft.com/office/drawing/2014/main" id="{E2EB9138-041D-3BF4-A290-3232F67E87D8}"/>
                  </a:ext>
                </a:extLst>
              </p:cNvPr>
              <p:cNvSpPr/>
              <p:nvPr/>
            </p:nvSpPr>
            <p:spPr>
              <a:xfrm>
                <a:off x="1619999" y="701219"/>
                <a:ext cx="51959" cy="79200"/>
              </a:xfrm>
              <a:custGeom>
                <a:avLst/>
                <a:gdLst>
                  <a:gd name="connsiteX0" fmla="*/ 0 w 51959"/>
                  <a:gd name="connsiteY0" fmla="*/ 0 h 79200"/>
                  <a:gd name="connsiteX1" fmla="*/ 7560 w 51959"/>
                  <a:gd name="connsiteY1" fmla="*/ 0 h 79200"/>
                  <a:gd name="connsiteX2" fmla="*/ 7560 w 51959"/>
                  <a:gd name="connsiteY2" fmla="*/ 72780 h 79200"/>
                  <a:gd name="connsiteX3" fmla="*/ 51960 w 51959"/>
                  <a:gd name="connsiteY3" fmla="*/ 72780 h 79200"/>
                  <a:gd name="connsiteX4" fmla="*/ 51960 w 51959"/>
                  <a:gd name="connsiteY4" fmla="*/ 79200 h 79200"/>
                  <a:gd name="connsiteX5" fmla="*/ 0 w 51959"/>
                  <a:gd name="connsiteY5" fmla="*/ 79200 h 79200"/>
                  <a:gd name="connsiteX6" fmla="*/ 0 w 51959"/>
                  <a:gd name="connsiteY6"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59" h="79200">
                    <a:moveTo>
                      <a:pt x="0" y="0"/>
                    </a:moveTo>
                    <a:lnTo>
                      <a:pt x="7560" y="0"/>
                    </a:lnTo>
                    <a:lnTo>
                      <a:pt x="7560" y="72780"/>
                    </a:lnTo>
                    <a:lnTo>
                      <a:pt x="51960" y="72780"/>
                    </a:lnTo>
                    <a:lnTo>
                      <a:pt x="51960" y="79200"/>
                    </a:lnTo>
                    <a:lnTo>
                      <a:pt x="0" y="79200"/>
                    </a:lnTo>
                    <a:lnTo>
                      <a:pt x="0" y="0"/>
                    </a:lnTo>
                    <a:close/>
                  </a:path>
                </a:pathLst>
              </a:custGeom>
              <a:solidFill>
                <a:srgbClr val="06357A"/>
              </a:solidFill>
              <a:ln w="5989"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5A6F993A-E390-831D-85D6-D74EEF09A381}"/>
                  </a:ext>
                </a:extLst>
              </p:cNvPr>
              <p:cNvSpPr/>
              <p:nvPr/>
            </p:nvSpPr>
            <p:spPr>
              <a:xfrm>
                <a:off x="167501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DA8B5DFC-5998-ED78-C089-D8D9FDAA7E38}"/>
                  </a:ext>
                </a:extLst>
              </p:cNvPr>
              <p:cNvSpPr/>
              <p:nvPr/>
            </p:nvSpPr>
            <p:spPr>
              <a:xfrm>
                <a:off x="1730039" y="723180"/>
                <a:ext cx="80459" cy="57240"/>
              </a:xfrm>
              <a:custGeom>
                <a:avLst/>
                <a:gdLst>
                  <a:gd name="connsiteX0" fmla="*/ 0 w 80459"/>
                  <a:gd name="connsiteY0" fmla="*/ 0 h 57240"/>
                  <a:gd name="connsiteX1" fmla="*/ 7440 w 80459"/>
                  <a:gd name="connsiteY1" fmla="*/ 0 h 57240"/>
                  <a:gd name="connsiteX2" fmla="*/ 22080 w 80459"/>
                  <a:gd name="connsiteY2" fmla="*/ 49020 h 57240"/>
                  <a:gd name="connsiteX3" fmla="*/ 22320 w 80459"/>
                  <a:gd name="connsiteY3" fmla="*/ 49020 h 57240"/>
                  <a:gd name="connsiteX4" fmla="*/ 36300 w 80459"/>
                  <a:gd name="connsiteY4" fmla="*/ 0 h 57240"/>
                  <a:gd name="connsiteX5" fmla="*/ 44160 w 80459"/>
                  <a:gd name="connsiteY5" fmla="*/ 0 h 57240"/>
                  <a:gd name="connsiteX6" fmla="*/ 58140 w 80459"/>
                  <a:gd name="connsiteY6" fmla="*/ 49020 h 57240"/>
                  <a:gd name="connsiteX7" fmla="*/ 58380 w 80459"/>
                  <a:gd name="connsiteY7" fmla="*/ 49020 h 57240"/>
                  <a:gd name="connsiteX8" fmla="*/ 73020 w 80459"/>
                  <a:gd name="connsiteY8" fmla="*/ 0 h 57240"/>
                  <a:gd name="connsiteX9" fmla="*/ 80460 w 80459"/>
                  <a:gd name="connsiteY9" fmla="*/ 0 h 57240"/>
                  <a:gd name="connsiteX10" fmla="*/ 62040 w 80459"/>
                  <a:gd name="connsiteY10" fmla="*/ 57240 h 57240"/>
                  <a:gd name="connsiteX11" fmla="*/ 54360 w 80459"/>
                  <a:gd name="connsiteY11" fmla="*/ 57240 h 57240"/>
                  <a:gd name="connsiteX12" fmla="*/ 40260 w 80459"/>
                  <a:gd name="connsiteY12" fmla="*/ 9060 h 57240"/>
                  <a:gd name="connsiteX13" fmla="*/ 40020 w 80459"/>
                  <a:gd name="connsiteY13" fmla="*/ 9060 h 57240"/>
                  <a:gd name="connsiteX14" fmla="*/ 26040 w 80459"/>
                  <a:gd name="connsiteY14" fmla="*/ 57240 h 57240"/>
                  <a:gd name="connsiteX15" fmla="*/ 18360 w 80459"/>
                  <a:gd name="connsiteY15" fmla="*/ 57240 h 57240"/>
                  <a:gd name="connsiteX16" fmla="*/ 0 w 80459"/>
                  <a:gd name="connsiteY16" fmla="*/ 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459" h="57240">
                    <a:moveTo>
                      <a:pt x="0" y="0"/>
                    </a:moveTo>
                    <a:lnTo>
                      <a:pt x="7440" y="0"/>
                    </a:lnTo>
                    <a:lnTo>
                      <a:pt x="22080" y="49020"/>
                    </a:lnTo>
                    <a:lnTo>
                      <a:pt x="22320" y="49020"/>
                    </a:lnTo>
                    <a:lnTo>
                      <a:pt x="36300" y="0"/>
                    </a:lnTo>
                    <a:lnTo>
                      <a:pt x="44160" y="0"/>
                    </a:lnTo>
                    <a:lnTo>
                      <a:pt x="58140" y="49020"/>
                    </a:lnTo>
                    <a:lnTo>
                      <a:pt x="58380" y="49020"/>
                    </a:lnTo>
                    <a:lnTo>
                      <a:pt x="73020" y="0"/>
                    </a:lnTo>
                    <a:lnTo>
                      <a:pt x="80460" y="0"/>
                    </a:lnTo>
                    <a:lnTo>
                      <a:pt x="62040" y="57240"/>
                    </a:lnTo>
                    <a:lnTo>
                      <a:pt x="54360" y="57240"/>
                    </a:lnTo>
                    <a:lnTo>
                      <a:pt x="40260" y="9060"/>
                    </a:lnTo>
                    <a:lnTo>
                      <a:pt x="40020" y="9060"/>
                    </a:lnTo>
                    <a:lnTo>
                      <a:pt x="26040" y="57240"/>
                    </a:lnTo>
                    <a:lnTo>
                      <a:pt x="18360" y="57240"/>
                    </a:lnTo>
                    <a:lnTo>
                      <a:pt x="0" y="0"/>
                    </a:lnTo>
                    <a:close/>
                  </a:path>
                </a:pathLst>
              </a:custGeom>
              <a:solidFill>
                <a:srgbClr val="06357A"/>
              </a:solidFill>
              <a:ln w="5989"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772E41CB-24F6-3224-1029-3DAAFCEEBCDD}"/>
                  </a:ext>
                </a:extLst>
              </p:cNvPr>
              <p:cNvSpPr/>
              <p:nvPr/>
            </p:nvSpPr>
            <p:spPr>
              <a:xfrm>
                <a:off x="1846559" y="701279"/>
                <a:ext cx="64440" cy="80880"/>
              </a:xfrm>
              <a:custGeom>
                <a:avLst/>
                <a:gdLst>
                  <a:gd name="connsiteX0" fmla="*/ 47220 w 64440"/>
                  <a:gd name="connsiteY0" fmla="*/ 68880 h 80880"/>
                  <a:gd name="connsiteX1" fmla="*/ 23940 w 64440"/>
                  <a:gd name="connsiteY1" fmla="*/ 80880 h 80880"/>
                  <a:gd name="connsiteX2" fmla="*/ 0 w 64440"/>
                  <a:gd name="connsiteY2" fmla="*/ 58680 h 80880"/>
                  <a:gd name="connsiteX3" fmla="*/ 19440 w 64440"/>
                  <a:gd name="connsiteY3" fmla="*/ 35160 h 80880"/>
                  <a:gd name="connsiteX4" fmla="*/ 9660 w 64440"/>
                  <a:gd name="connsiteY4" fmla="*/ 16080 h 80880"/>
                  <a:gd name="connsiteX5" fmla="*/ 27180 w 64440"/>
                  <a:gd name="connsiteY5" fmla="*/ 0 h 80880"/>
                  <a:gd name="connsiteX6" fmla="*/ 44700 w 64440"/>
                  <a:gd name="connsiteY6" fmla="*/ 16080 h 80880"/>
                  <a:gd name="connsiteX7" fmla="*/ 29160 w 64440"/>
                  <a:gd name="connsiteY7" fmla="*/ 36600 h 80880"/>
                  <a:gd name="connsiteX8" fmla="*/ 46440 w 64440"/>
                  <a:gd name="connsiteY8" fmla="*/ 57480 h 80880"/>
                  <a:gd name="connsiteX9" fmla="*/ 48780 w 64440"/>
                  <a:gd name="connsiteY9" fmla="*/ 44160 h 80880"/>
                  <a:gd name="connsiteX10" fmla="*/ 55800 w 64440"/>
                  <a:gd name="connsiteY10" fmla="*/ 44160 h 80880"/>
                  <a:gd name="connsiteX11" fmla="*/ 51120 w 64440"/>
                  <a:gd name="connsiteY11" fmla="*/ 63120 h 80880"/>
                  <a:gd name="connsiteX12" fmla="*/ 64440 w 64440"/>
                  <a:gd name="connsiteY12" fmla="*/ 79200 h 80880"/>
                  <a:gd name="connsiteX13" fmla="*/ 55680 w 64440"/>
                  <a:gd name="connsiteY13" fmla="*/ 79200 h 80880"/>
                  <a:gd name="connsiteX14" fmla="*/ 47220 w 64440"/>
                  <a:gd name="connsiteY14" fmla="*/ 68880 h 80880"/>
                  <a:gd name="connsiteX15" fmla="*/ 23160 w 64440"/>
                  <a:gd name="connsiteY15" fmla="*/ 39660 h 80880"/>
                  <a:gd name="connsiteX16" fmla="*/ 6960 w 64440"/>
                  <a:gd name="connsiteY16" fmla="*/ 59280 h 80880"/>
                  <a:gd name="connsiteX17" fmla="*/ 24180 w 64440"/>
                  <a:gd name="connsiteY17" fmla="*/ 74940 h 80880"/>
                  <a:gd name="connsiteX18" fmla="*/ 42900 w 64440"/>
                  <a:gd name="connsiteY18" fmla="*/ 63600 h 80880"/>
                  <a:gd name="connsiteX19" fmla="*/ 23160 w 64440"/>
                  <a:gd name="connsiteY19" fmla="*/ 39660 h 80880"/>
                  <a:gd name="connsiteX20" fmla="*/ 16620 w 64440"/>
                  <a:gd name="connsiteY20" fmla="*/ 16020 h 80880"/>
                  <a:gd name="connsiteX21" fmla="*/ 25500 w 64440"/>
                  <a:gd name="connsiteY21" fmla="*/ 31980 h 80880"/>
                  <a:gd name="connsiteX22" fmla="*/ 37680 w 64440"/>
                  <a:gd name="connsiteY22" fmla="*/ 16020 h 80880"/>
                  <a:gd name="connsiteX23" fmla="*/ 27120 w 64440"/>
                  <a:gd name="connsiteY23" fmla="*/ 5820 h 80880"/>
                  <a:gd name="connsiteX24" fmla="*/ 16620 w 64440"/>
                  <a:gd name="connsiteY24" fmla="*/ 16020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440" h="80880">
                    <a:moveTo>
                      <a:pt x="47220" y="68880"/>
                    </a:moveTo>
                    <a:cubicBezTo>
                      <a:pt x="41460" y="76080"/>
                      <a:pt x="33240" y="80880"/>
                      <a:pt x="23940" y="80880"/>
                    </a:cubicBezTo>
                    <a:cubicBezTo>
                      <a:pt x="10320" y="80880"/>
                      <a:pt x="0" y="73020"/>
                      <a:pt x="0" y="58680"/>
                    </a:cubicBezTo>
                    <a:cubicBezTo>
                      <a:pt x="0" y="47460"/>
                      <a:pt x="10560" y="39900"/>
                      <a:pt x="19440" y="35160"/>
                    </a:cubicBezTo>
                    <a:cubicBezTo>
                      <a:pt x="15120" y="29640"/>
                      <a:pt x="9660" y="23700"/>
                      <a:pt x="9660" y="16080"/>
                    </a:cubicBezTo>
                    <a:cubicBezTo>
                      <a:pt x="9660" y="6420"/>
                      <a:pt x="17520" y="0"/>
                      <a:pt x="27180" y="0"/>
                    </a:cubicBezTo>
                    <a:cubicBezTo>
                      <a:pt x="36840" y="0"/>
                      <a:pt x="44700" y="6420"/>
                      <a:pt x="44700" y="16080"/>
                    </a:cubicBezTo>
                    <a:cubicBezTo>
                      <a:pt x="44700" y="25980"/>
                      <a:pt x="37020" y="31620"/>
                      <a:pt x="29160" y="36600"/>
                    </a:cubicBezTo>
                    <a:lnTo>
                      <a:pt x="46440" y="57480"/>
                    </a:lnTo>
                    <a:cubicBezTo>
                      <a:pt x="48300" y="53580"/>
                      <a:pt x="48780" y="50280"/>
                      <a:pt x="48780" y="44160"/>
                    </a:cubicBezTo>
                    <a:lnTo>
                      <a:pt x="55800" y="44160"/>
                    </a:lnTo>
                    <a:cubicBezTo>
                      <a:pt x="55800" y="48600"/>
                      <a:pt x="54780" y="56340"/>
                      <a:pt x="51120" y="63120"/>
                    </a:cubicBezTo>
                    <a:lnTo>
                      <a:pt x="64440" y="79200"/>
                    </a:lnTo>
                    <a:lnTo>
                      <a:pt x="55680" y="79200"/>
                    </a:lnTo>
                    <a:lnTo>
                      <a:pt x="47220" y="68880"/>
                    </a:lnTo>
                    <a:close/>
                    <a:moveTo>
                      <a:pt x="23160" y="39660"/>
                    </a:moveTo>
                    <a:cubicBezTo>
                      <a:pt x="15480" y="43740"/>
                      <a:pt x="6960" y="49740"/>
                      <a:pt x="6960" y="59280"/>
                    </a:cubicBezTo>
                    <a:cubicBezTo>
                      <a:pt x="6960" y="68580"/>
                      <a:pt x="15300" y="74940"/>
                      <a:pt x="24180" y="74940"/>
                    </a:cubicBezTo>
                    <a:cubicBezTo>
                      <a:pt x="32160" y="74940"/>
                      <a:pt x="38520" y="69960"/>
                      <a:pt x="42900" y="63600"/>
                    </a:cubicBezTo>
                    <a:lnTo>
                      <a:pt x="23160" y="39660"/>
                    </a:lnTo>
                    <a:close/>
                    <a:moveTo>
                      <a:pt x="16620" y="16020"/>
                    </a:moveTo>
                    <a:cubicBezTo>
                      <a:pt x="16620" y="21540"/>
                      <a:pt x="21960" y="27780"/>
                      <a:pt x="25500" y="31980"/>
                    </a:cubicBezTo>
                    <a:cubicBezTo>
                      <a:pt x="31020" y="28440"/>
                      <a:pt x="37680" y="23760"/>
                      <a:pt x="37680" y="16020"/>
                    </a:cubicBezTo>
                    <a:cubicBezTo>
                      <a:pt x="37680" y="9360"/>
                      <a:pt x="32940" y="5820"/>
                      <a:pt x="27120" y="5820"/>
                    </a:cubicBezTo>
                    <a:cubicBezTo>
                      <a:pt x="21360" y="5820"/>
                      <a:pt x="16620" y="9360"/>
                      <a:pt x="16620" y="16020"/>
                    </a:cubicBezTo>
                    <a:close/>
                  </a:path>
                </a:pathLst>
              </a:custGeom>
              <a:solidFill>
                <a:srgbClr val="06357A"/>
              </a:solidFill>
              <a:ln w="5989"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45407377-FEDE-A237-0EAA-03ADEDEFE926}"/>
                  </a:ext>
                </a:extLst>
              </p:cNvPr>
              <p:cNvSpPr/>
              <p:nvPr/>
            </p:nvSpPr>
            <p:spPr>
              <a:xfrm>
                <a:off x="1940219" y="701219"/>
                <a:ext cx="62880" cy="79200"/>
              </a:xfrm>
              <a:custGeom>
                <a:avLst/>
                <a:gdLst>
                  <a:gd name="connsiteX0" fmla="*/ 60 w 62880"/>
                  <a:gd name="connsiteY0" fmla="*/ 0 h 79200"/>
                  <a:gd name="connsiteX1" fmla="*/ 62880 w 62880"/>
                  <a:gd name="connsiteY1" fmla="*/ 0 h 79200"/>
                  <a:gd name="connsiteX2" fmla="*/ 62880 w 62880"/>
                  <a:gd name="connsiteY2" fmla="*/ 6420 h 79200"/>
                  <a:gd name="connsiteX3" fmla="*/ 35220 w 62880"/>
                  <a:gd name="connsiteY3" fmla="*/ 6420 h 79200"/>
                  <a:gd name="connsiteX4" fmla="*/ 35220 w 62880"/>
                  <a:gd name="connsiteY4" fmla="*/ 79200 h 79200"/>
                  <a:gd name="connsiteX5" fmla="*/ 27660 w 62880"/>
                  <a:gd name="connsiteY5" fmla="*/ 79200 h 79200"/>
                  <a:gd name="connsiteX6" fmla="*/ 27660 w 62880"/>
                  <a:gd name="connsiteY6" fmla="*/ 6420 h 79200"/>
                  <a:gd name="connsiteX7" fmla="*/ 0 w 62880"/>
                  <a:gd name="connsiteY7" fmla="*/ 6420 h 79200"/>
                  <a:gd name="connsiteX8" fmla="*/ 0 w 62880"/>
                  <a:gd name="connsiteY8"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80" h="79200">
                    <a:moveTo>
                      <a:pt x="60" y="0"/>
                    </a:moveTo>
                    <a:lnTo>
                      <a:pt x="62880" y="0"/>
                    </a:lnTo>
                    <a:lnTo>
                      <a:pt x="62880" y="6420"/>
                    </a:lnTo>
                    <a:lnTo>
                      <a:pt x="35220" y="6420"/>
                    </a:lnTo>
                    <a:lnTo>
                      <a:pt x="35220" y="79200"/>
                    </a:lnTo>
                    <a:lnTo>
                      <a:pt x="27660" y="79200"/>
                    </a:lnTo>
                    <a:lnTo>
                      <a:pt x="27660" y="6420"/>
                    </a:lnTo>
                    <a:lnTo>
                      <a:pt x="0" y="6420"/>
                    </a:lnTo>
                    <a:lnTo>
                      <a:pt x="0" y="0"/>
                    </a:lnTo>
                    <a:close/>
                  </a:path>
                </a:pathLst>
              </a:custGeom>
              <a:solidFill>
                <a:srgbClr val="06357A"/>
              </a:solidFill>
              <a:ln w="5989"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E5812581-AB35-0C16-60E4-7FB199205EFE}"/>
                  </a:ext>
                </a:extLst>
              </p:cNvPr>
              <p:cNvSpPr/>
              <p:nvPr/>
            </p:nvSpPr>
            <p:spPr>
              <a:xfrm>
                <a:off x="199373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1238E1D-CE90-FE3A-14A1-F5246C2062FC}"/>
                  </a:ext>
                </a:extLst>
              </p:cNvPr>
              <p:cNvSpPr/>
              <p:nvPr/>
            </p:nvSpPr>
            <p:spPr>
              <a:xfrm>
                <a:off x="2047979" y="723180"/>
                <a:ext cx="53159" cy="57240"/>
              </a:xfrm>
              <a:custGeom>
                <a:avLst/>
                <a:gdLst>
                  <a:gd name="connsiteX0" fmla="*/ 22200 w 53159"/>
                  <a:gd name="connsiteY0" fmla="*/ 27540 h 57240"/>
                  <a:gd name="connsiteX1" fmla="*/ 1680 w 53159"/>
                  <a:gd name="connsiteY1" fmla="*/ 0 h 57240"/>
                  <a:gd name="connsiteX2" fmla="*/ 10440 w 53159"/>
                  <a:gd name="connsiteY2" fmla="*/ 0 h 57240"/>
                  <a:gd name="connsiteX3" fmla="*/ 26760 w 53159"/>
                  <a:gd name="connsiteY3" fmla="*/ 21720 h 57240"/>
                  <a:gd name="connsiteX4" fmla="*/ 42720 w 53159"/>
                  <a:gd name="connsiteY4" fmla="*/ 0 h 57240"/>
                  <a:gd name="connsiteX5" fmla="*/ 51480 w 53159"/>
                  <a:gd name="connsiteY5" fmla="*/ 0 h 57240"/>
                  <a:gd name="connsiteX6" fmla="*/ 30840 w 53159"/>
                  <a:gd name="connsiteY6" fmla="*/ 27420 h 57240"/>
                  <a:gd name="connsiteX7" fmla="*/ 53160 w 53159"/>
                  <a:gd name="connsiteY7" fmla="*/ 57240 h 57240"/>
                  <a:gd name="connsiteX8" fmla="*/ 44280 w 53159"/>
                  <a:gd name="connsiteY8" fmla="*/ 57240 h 57240"/>
                  <a:gd name="connsiteX9" fmla="*/ 26280 w 53159"/>
                  <a:gd name="connsiteY9" fmla="*/ 33180 h 57240"/>
                  <a:gd name="connsiteX10" fmla="*/ 8640 w 53159"/>
                  <a:gd name="connsiteY10" fmla="*/ 57240 h 57240"/>
                  <a:gd name="connsiteX11" fmla="*/ 0 w 53159"/>
                  <a:gd name="connsiteY11" fmla="*/ 57240 h 57240"/>
                  <a:gd name="connsiteX12" fmla="*/ 22200 w 53159"/>
                  <a:gd name="connsiteY12" fmla="*/ 2754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159" h="57240">
                    <a:moveTo>
                      <a:pt x="22200" y="27540"/>
                    </a:moveTo>
                    <a:lnTo>
                      <a:pt x="1680" y="0"/>
                    </a:lnTo>
                    <a:lnTo>
                      <a:pt x="10440" y="0"/>
                    </a:lnTo>
                    <a:lnTo>
                      <a:pt x="26760" y="21720"/>
                    </a:lnTo>
                    <a:lnTo>
                      <a:pt x="42720" y="0"/>
                    </a:lnTo>
                    <a:lnTo>
                      <a:pt x="51480" y="0"/>
                    </a:lnTo>
                    <a:lnTo>
                      <a:pt x="30840" y="27420"/>
                    </a:lnTo>
                    <a:lnTo>
                      <a:pt x="53160" y="57240"/>
                    </a:lnTo>
                    <a:lnTo>
                      <a:pt x="44280" y="57240"/>
                    </a:lnTo>
                    <a:lnTo>
                      <a:pt x="26280" y="33180"/>
                    </a:lnTo>
                    <a:lnTo>
                      <a:pt x="8640" y="57240"/>
                    </a:lnTo>
                    <a:lnTo>
                      <a:pt x="0" y="57240"/>
                    </a:lnTo>
                    <a:lnTo>
                      <a:pt x="22200" y="27540"/>
                    </a:lnTo>
                    <a:close/>
                  </a:path>
                </a:pathLst>
              </a:custGeom>
              <a:solidFill>
                <a:srgbClr val="06357A"/>
              </a:solidFill>
              <a:ln w="5989" cap="flat">
                <a:noFill/>
                <a:prstDash val="solid"/>
                <a:miter/>
              </a:ln>
            </p:spPr>
            <p:txBody>
              <a:bodyPr rtlCol="0" anchor="ctr"/>
              <a:lstStyle/>
              <a:p>
                <a:endParaRPr lang="en-GB" dirty="0"/>
              </a:p>
            </p:txBody>
          </p:sp>
        </p:grpSp>
      </p:grpSp>
      <p:cxnSp>
        <p:nvCxnSpPr>
          <p:cNvPr id="51" name="Straight Connector 50">
            <a:extLst>
              <a:ext uri="{FF2B5EF4-FFF2-40B4-BE49-F238E27FC236}">
                <a16:creationId xmlns:a16="http://schemas.microsoft.com/office/drawing/2014/main" id="{729E4BED-0302-0079-D7D4-81083FB37CF4}"/>
              </a:ext>
            </a:extLst>
          </p:cNvPr>
          <p:cNvCxnSpPr>
            <a:cxnSpLocks/>
          </p:cNvCxnSpPr>
          <p:nvPr/>
        </p:nvCxnSpPr>
        <p:spPr>
          <a:xfrm>
            <a:off x="263506" y="1734156"/>
            <a:ext cx="149449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 Placeholder 32">
            <a:extLst>
              <a:ext uri="{FF2B5EF4-FFF2-40B4-BE49-F238E27FC236}">
                <a16:creationId xmlns:a16="http://schemas.microsoft.com/office/drawing/2014/main" id="{827A96E0-1F16-1BF7-87C9-4C66AE382CF0}"/>
              </a:ext>
            </a:extLst>
          </p:cNvPr>
          <p:cNvSpPr>
            <a:spLocks noGrp="1"/>
          </p:cNvSpPr>
          <p:nvPr>
            <p:ph type="body" sz="quarter" idx="18" hasCustomPrompt="1"/>
          </p:nvPr>
        </p:nvSpPr>
        <p:spPr>
          <a:xfrm>
            <a:off x="730674" y="1364301"/>
            <a:ext cx="1836934" cy="184666"/>
          </a:xfrm>
          <a:prstGeom prst="rect">
            <a:avLst/>
          </a:prstGeom>
        </p:spPr>
        <p:txBody>
          <a:bodyPr/>
          <a:lstStyle>
            <a:lvl1pPr>
              <a:lnSpc>
                <a:spcPct val="100000"/>
              </a:lnSpc>
              <a:spcBef>
                <a:spcPts val="0"/>
              </a:spcBef>
              <a:defRPr sz="1200" b="0">
                <a:solidFill>
                  <a:schemeClr val="bg1"/>
                </a:solidFill>
              </a:defRPr>
            </a:lvl1pPr>
          </a:lstStyle>
          <a:p>
            <a:pPr lvl="0"/>
            <a:r>
              <a:rPr lang="en-GB" dirty="0"/>
              <a:t>Date</a:t>
            </a:r>
          </a:p>
        </p:txBody>
      </p:sp>
      <p:sp>
        <p:nvSpPr>
          <p:cNvPr id="4" name="Title 3">
            <a:extLst>
              <a:ext uri="{FF2B5EF4-FFF2-40B4-BE49-F238E27FC236}">
                <a16:creationId xmlns:a16="http://schemas.microsoft.com/office/drawing/2014/main" id="{F884C1FF-581C-0842-D9F5-293D8E12399F}"/>
              </a:ext>
            </a:extLst>
          </p:cNvPr>
          <p:cNvSpPr>
            <a:spLocks noGrp="1"/>
          </p:cNvSpPr>
          <p:nvPr>
            <p:ph type="title"/>
          </p:nvPr>
        </p:nvSpPr>
        <p:spPr>
          <a:xfrm>
            <a:off x="730675" y="1918809"/>
            <a:ext cx="3169082" cy="718145"/>
          </a:xfrm>
        </p:spPr>
        <p:txBody>
          <a:bodyPr/>
          <a:lstStyle>
            <a:lvl1pPr>
              <a:lnSpc>
                <a:spcPts val="2800"/>
              </a:lnSpc>
              <a:defRPr sz="2400" b="1">
                <a:solidFill>
                  <a:schemeClr val="bg1"/>
                </a:solidFill>
              </a:defRPr>
            </a:lvl1pPr>
          </a:lstStyle>
          <a:p>
            <a:r>
              <a:rPr lang="en-US" dirty="0"/>
              <a:t>Click to edit Master title style</a:t>
            </a:r>
            <a:endParaRPr lang="en-GB" dirty="0"/>
          </a:p>
        </p:txBody>
      </p:sp>
      <p:sp>
        <p:nvSpPr>
          <p:cNvPr id="6" name="Text Placeholder 32">
            <a:extLst>
              <a:ext uri="{FF2B5EF4-FFF2-40B4-BE49-F238E27FC236}">
                <a16:creationId xmlns:a16="http://schemas.microsoft.com/office/drawing/2014/main" id="{74A642A1-F7E7-C344-7B8C-E2D1F2240553}"/>
              </a:ext>
            </a:extLst>
          </p:cNvPr>
          <p:cNvSpPr>
            <a:spLocks noGrp="1"/>
          </p:cNvSpPr>
          <p:nvPr>
            <p:ph type="body" sz="quarter" idx="19" hasCustomPrompt="1"/>
          </p:nvPr>
        </p:nvSpPr>
        <p:spPr>
          <a:xfrm>
            <a:off x="730675" y="5744741"/>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err="1"/>
              <a:t>Loyens</a:t>
            </a:r>
            <a:r>
              <a:rPr lang="en-GB" dirty="0"/>
              <a:t> &amp; </a:t>
            </a:r>
            <a:r>
              <a:rPr lang="en-GB" dirty="0" err="1"/>
              <a:t>Loeff</a:t>
            </a:r>
            <a:r>
              <a:rPr lang="en-GB" dirty="0"/>
              <a:t> Practice Group</a:t>
            </a:r>
          </a:p>
        </p:txBody>
      </p:sp>
      <p:cxnSp>
        <p:nvCxnSpPr>
          <p:cNvPr id="7" name="Straight Connector 6">
            <a:extLst>
              <a:ext uri="{FF2B5EF4-FFF2-40B4-BE49-F238E27FC236}">
                <a16:creationId xmlns:a16="http://schemas.microsoft.com/office/drawing/2014/main" id="{C03925A0-DB7D-BEDB-9603-11EB4B4BDC34}"/>
              </a:ext>
            </a:extLst>
          </p:cNvPr>
          <p:cNvCxnSpPr>
            <a:cxnSpLocks/>
          </p:cNvCxnSpPr>
          <p:nvPr/>
        </p:nvCxnSpPr>
        <p:spPr>
          <a:xfrm>
            <a:off x="730675" y="5337212"/>
            <a:ext cx="72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CC196E0-8E84-7F44-FC27-A5457C447B20}"/>
              </a:ext>
            </a:extLst>
          </p:cNvPr>
          <p:cNvSpPr>
            <a:spLocks noGrp="1"/>
          </p:cNvSpPr>
          <p:nvPr>
            <p:ph type="ftr" sz="quarter" idx="21"/>
          </p:nvPr>
        </p:nvSpPr>
        <p:spPr>
          <a:xfrm>
            <a:off x="723076" y="5983400"/>
            <a:ext cx="3176681" cy="138498"/>
          </a:xfrm>
        </p:spPr>
        <p:txBody>
          <a:bodyPr vert="horz" wrap="square" lIns="0" tIns="0" rIns="0" bIns="0" rtlCol="0">
            <a:spAutoFit/>
          </a:bodyPr>
          <a:lstStyle>
            <a:lvl1pPr>
              <a:defRPr lang="en-GB" b="0" smtClean="0">
                <a:solidFill>
                  <a:schemeClr val="bg1"/>
                </a:solidFill>
              </a:defRPr>
            </a:lvl1pPr>
          </a:lstStyle>
          <a:p>
            <a:pPr>
              <a:buFont typeface="Arial" panose="020B0604020202020204" pitchFamily="34" charset="0"/>
              <a:buNone/>
            </a:pPr>
            <a:r>
              <a:rPr lang="nl-NL"/>
              <a:t>DMS number</a:t>
            </a:r>
            <a:endParaRPr lang="nl-NL" dirty="0"/>
          </a:p>
        </p:txBody>
      </p:sp>
      <p:sp>
        <p:nvSpPr>
          <p:cNvPr id="5" name="Picture Placeholder 43">
            <a:extLst>
              <a:ext uri="{FF2B5EF4-FFF2-40B4-BE49-F238E27FC236}">
                <a16:creationId xmlns:a16="http://schemas.microsoft.com/office/drawing/2014/main" id="{54683C10-B086-79A1-66D1-FA595D730009}"/>
              </a:ext>
            </a:extLst>
          </p:cNvPr>
          <p:cNvSpPr>
            <a:spLocks noGrp="1"/>
          </p:cNvSpPr>
          <p:nvPr>
            <p:ph type="pic" sz="quarter" idx="22" hasCustomPrompt="1"/>
          </p:nvPr>
        </p:nvSpPr>
        <p:spPr>
          <a:xfrm flipH="1">
            <a:off x="260426" y="1004744"/>
            <a:ext cx="7810528" cy="5620148"/>
          </a:xfrm>
          <a:custGeom>
            <a:avLst/>
            <a:gdLst>
              <a:gd name="connsiteX0" fmla="*/ 503284 w 7792847"/>
              <a:gd name="connsiteY0" fmla="*/ 0 h 5620148"/>
              <a:gd name="connsiteX1" fmla="*/ 7792847 w 7792847"/>
              <a:gd name="connsiteY1" fmla="*/ 0 h 5620148"/>
              <a:gd name="connsiteX2" fmla="*/ 7792847 w 7792847"/>
              <a:gd name="connsiteY2" fmla="*/ 38451 h 5620148"/>
              <a:gd name="connsiteX3" fmla="*/ 7792847 w 7792847"/>
              <a:gd name="connsiteY3" fmla="*/ 5581697 h 5620148"/>
              <a:gd name="connsiteX4" fmla="*/ 7792847 w 7792847"/>
              <a:gd name="connsiteY4" fmla="*/ 5620148 h 5620148"/>
              <a:gd name="connsiteX5" fmla="*/ 0 w 7792847"/>
              <a:gd name="connsiteY5" fmla="*/ 5620148 h 5620148"/>
              <a:gd name="connsiteX6" fmla="*/ 0 w 7792847"/>
              <a:gd name="connsiteY6" fmla="*/ 5581697 h 5620148"/>
              <a:gd name="connsiteX7" fmla="*/ 0 w 7792847"/>
              <a:gd name="connsiteY7" fmla="*/ 538855 h 5620148"/>
              <a:gd name="connsiteX8" fmla="*/ 0 w 7792847"/>
              <a:gd name="connsiteY8" fmla="*/ 500404 h 5620148"/>
              <a:gd name="connsiteX9" fmla="*/ 503284 w 7792847"/>
              <a:gd name="connsiteY9" fmla="*/ 0 h 56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2847" h="5620148">
                <a:moveTo>
                  <a:pt x="503284" y="0"/>
                </a:moveTo>
                <a:lnTo>
                  <a:pt x="7792847" y="0"/>
                </a:lnTo>
                <a:lnTo>
                  <a:pt x="7792847" y="38451"/>
                </a:lnTo>
                <a:lnTo>
                  <a:pt x="7792847" y="5581697"/>
                </a:lnTo>
                <a:lnTo>
                  <a:pt x="7792847" y="5620148"/>
                </a:lnTo>
                <a:lnTo>
                  <a:pt x="0" y="5620148"/>
                </a:lnTo>
                <a:lnTo>
                  <a:pt x="0" y="5581697"/>
                </a:lnTo>
                <a:lnTo>
                  <a:pt x="0" y="538855"/>
                </a:lnTo>
                <a:lnTo>
                  <a:pt x="0" y="500404"/>
                </a:lnTo>
                <a:cubicBezTo>
                  <a:pt x="355" y="224035"/>
                  <a:pt x="225533" y="139"/>
                  <a:pt x="503284" y="0"/>
                </a:cubicBezTo>
                <a:close/>
              </a:path>
            </a:pathLst>
          </a:custGeom>
          <a:solidFill>
            <a:schemeClr val="bg1">
              <a:lumMod val="75000"/>
            </a:schemeClr>
          </a:solidFill>
        </p:spPr>
        <p:txBody>
          <a:bodyPr wrap="square" lIns="2304000" tIns="1368000" rIns="2304000" bIns="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8" name="Freeform: Shape 7">
            <a:extLst>
              <a:ext uri="{FF2B5EF4-FFF2-40B4-BE49-F238E27FC236}">
                <a16:creationId xmlns:a16="http://schemas.microsoft.com/office/drawing/2014/main" id="{A3C0E683-AE1B-DDA3-B907-52FDAAA1B75A}"/>
              </a:ext>
            </a:extLst>
          </p:cNvPr>
          <p:cNvSpPr/>
          <p:nvPr userDrawn="1"/>
        </p:nvSpPr>
        <p:spPr>
          <a:xfrm flipH="1">
            <a:off x="8072081" y="978704"/>
            <a:ext cx="3856393" cy="5620071"/>
          </a:xfrm>
          <a:custGeom>
            <a:avLst/>
            <a:gdLst>
              <a:gd name="connsiteX0" fmla="*/ 0 w 3877301"/>
              <a:gd name="connsiteY0" fmla="*/ 0 h 5620071"/>
              <a:gd name="connsiteX1" fmla="*/ 3374528 w 3877301"/>
              <a:gd name="connsiteY1" fmla="*/ 0 h 5620071"/>
              <a:gd name="connsiteX2" fmla="*/ 3877301 w 3877301"/>
              <a:gd name="connsiteY2" fmla="*/ 500404 h 5620071"/>
              <a:gd name="connsiteX3" fmla="*/ 3877301 w 3877301"/>
              <a:gd name="connsiteY3" fmla="*/ 538778 h 5620071"/>
              <a:gd name="connsiteX4" fmla="*/ 3877301 w 3877301"/>
              <a:gd name="connsiteY4" fmla="*/ 5581697 h 5620071"/>
              <a:gd name="connsiteX5" fmla="*/ 3877301 w 3877301"/>
              <a:gd name="connsiteY5" fmla="*/ 5620071 h 5620071"/>
              <a:gd name="connsiteX6" fmla="*/ 502646 w 3877301"/>
              <a:gd name="connsiteY6" fmla="*/ 5620071 h 5620071"/>
              <a:gd name="connsiteX7" fmla="*/ 0 w 3877301"/>
              <a:gd name="connsiteY7" fmla="*/ 5119036 h 5620071"/>
              <a:gd name="connsiteX8" fmla="*/ 0 w 3877301"/>
              <a:gd name="connsiteY8" fmla="*/ 5080662 h 5620071"/>
              <a:gd name="connsiteX9" fmla="*/ 0 w 3877301"/>
              <a:gd name="connsiteY9" fmla="*/ 38374 h 562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7301" h="5620071">
                <a:moveTo>
                  <a:pt x="0" y="0"/>
                </a:moveTo>
                <a:lnTo>
                  <a:pt x="3374528" y="0"/>
                </a:lnTo>
                <a:cubicBezTo>
                  <a:pt x="3651965" y="-140"/>
                  <a:pt x="3877022" y="223859"/>
                  <a:pt x="3877301" y="500404"/>
                </a:cubicBezTo>
                <a:lnTo>
                  <a:pt x="3877301" y="538778"/>
                </a:lnTo>
                <a:lnTo>
                  <a:pt x="3877301" y="5581697"/>
                </a:lnTo>
                <a:lnTo>
                  <a:pt x="3877301" y="5620071"/>
                </a:lnTo>
                <a:lnTo>
                  <a:pt x="502646" y="5620071"/>
                </a:lnTo>
                <a:cubicBezTo>
                  <a:pt x="225042" y="5620071"/>
                  <a:pt x="0" y="5395748"/>
                  <a:pt x="0" y="5119036"/>
                </a:cubicBezTo>
                <a:lnTo>
                  <a:pt x="0" y="5080662"/>
                </a:lnTo>
                <a:lnTo>
                  <a:pt x="0" y="38374"/>
                </a:lnTo>
                <a:close/>
              </a:path>
            </a:pathLst>
          </a:custGeom>
          <a:gradFill>
            <a:gsLst>
              <a:gs pos="0">
                <a:srgbClr val="0078B6"/>
              </a:gs>
              <a:gs pos="100000">
                <a:schemeClr val="bg2"/>
              </a:gs>
            </a:gsLst>
            <a:lin ang="5400000" scaled="1"/>
          </a:gradFill>
          <a:ln w="12638" cap="flat">
            <a:noFill/>
            <a:prstDash val="solid"/>
            <a:miter/>
          </a:ln>
        </p:spPr>
        <p:txBody>
          <a:bodyPr rtlCol="0" anchor="ctr"/>
          <a:lstStyle/>
          <a:p>
            <a:endParaRPr lang="en-GB" dirty="0"/>
          </a:p>
        </p:txBody>
      </p:sp>
    </p:spTree>
    <p:extLst>
      <p:ext uri="{BB962C8B-B14F-4D97-AF65-F5344CB8AC3E}">
        <p14:creationId xmlns:p14="http://schemas.microsoft.com/office/powerpoint/2010/main" val="122092893"/>
      </p:ext>
    </p:extLst>
  </p:cSld>
  <p:clrMapOvr>
    <a:masterClrMapping/>
  </p:clrMapOvr>
  <p:extLst>
    <p:ext uri="{DCECCB84-F9BA-43D5-87BE-67443E8EF086}">
      <p15:sldGuideLst xmlns:p15="http://schemas.microsoft.com/office/powerpoint/2012/main">
        <p15:guide id="1" pos="461">
          <p15:clr>
            <a:srgbClr val="FBAE40"/>
          </p15:clr>
        </p15:guide>
        <p15:guide id="2" orient="horz" pos="120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Title - two columns font size 1</a:t>
            </a:r>
            <a:r>
              <a:rPr lang="en-NL" noProof="0" dirty="0"/>
              <a:t>8</a:t>
            </a:r>
            <a:r>
              <a:rPr lang="en-US" noProof="0" dirty="0"/>
              <a:t> pt</a:t>
            </a:r>
            <a:endParaRPr lang="en-GB" dirty="0"/>
          </a:p>
        </p:txBody>
      </p:sp>
      <p:sp>
        <p:nvSpPr>
          <p:cNvPr id="8" name="Text Placeholder 7">
            <a:extLst>
              <a:ext uri="{FF2B5EF4-FFF2-40B4-BE49-F238E27FC236}">
                <a16:creationId xmlns:a16="http://schemas.microsoft.com/office/drawing/2014/main" id="{C775BA39-7D03-4A53-A94E-D3484E6288AA}"/>
              </a:ext>
            </a:extLst>
          </p:cNvPr>
          <p:cNvSpPr>
            <a:spLocks noGrp="1"/>
          </p:cNvSpPr>
          <p:nvPr>
            <p:ph type="body" sz="quarter" idx="10"/>
          </p:nvPr>
        </p:nvSpPr>
        <p:spPr>
          <a:xfrm>
            <a:off x="731838" y="981075"/>
            <a:ext cx="5076825" cy="1856919"/>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ext Placeholder 7">
            <a:extLst>
              <a:ext uri="{FF2B5EF4-FFF2-40B4-BE49-F238E27FC236}">
                <a16:creationId xmlns:a16="http://schemas.microsoft.com/office/drawing/2014/main" id="{0980249B-CC0D-76A6-77BE-C4C53D92F274}"/>
              </a:ext>
            </a:extLst>
          </p:cNvPr>
          <p:cNvSpPr>
            <a:spLocks noGrp="1"/>
          </p:cNvSpPr>
          <p:nvPr>
            <p:ph type="body" sz="quarter" idx="11"/>
          </p:nvPr>
        </p:nvSpPr>
        <p:spPr>
          <a:xfrm>
            <a:off x="6383337" y="981075"/>
            <a:ext cx="5076825" cy="1856919"/>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69114399"/>
      </p:ext>
    </p:extLst>
  </p:cSld>
  <p:clrMapOvr>
    <a:masterClrMapping/>
  </p:clrMapOvr>
  <p:extLst>
    <p:ext uri="{DCECCB84-F9BA-43D5-87BE-67443E8EF086}">
      <p15:sldGuideLst xmlns:p15="http://schemas.microsoft.com/office/powerpoint/2012/main">
        <p15:guide id="7" orient="horz" pos="618">
          <p15:clr>
            <a:srgbClr val="F26B43"/>
          </p15:clr>
        </p15:guide>
        <p15:guide id="8" pos="3840">
          <p15:clr>
            <a:srgbClr val="F26B43"/>
          </p15:clr>
        </p15:guide>
        <p15:guide id="9" pos="3659">
          <p15:clr>
            <a:srgbClr val="FBAE40"/>
          </p15:clr>
        </p15:guide>
        <p15:guide id="10" pos="4021">
          <p15:clr>
            <a:srgbClr val="FBAE40"/>
          </p15:clr>
        </p15:guide>
        <p15:guide id="12" orient="horz" pos="3929">
          <p15:clr>
            <a:srgbClr val="F26B43"/>
          </p15:clr>
        </p15:guide>
        <p15:guide id="13" pos="461">
          <p15:clr>
            <a:srgbClr val="F26B43"/>
          </p15:clr>
        </p15:guide>
        <p15:guide id="14" pos="7219">
          <p15:clr>
            <a:srgbClr val="F26B43"/>
          </p15:clr>
        </p15:guide>
        <p15:guide id="15" pos="7514">
          <p15:clr>
            <a:srgbClr val="FBAE40"/>
          </p15:clr>
        </p15:guide>
        <p15:guide id="16" pos="166">
          <p15:clr>
            <a:srgbClr val="FBAE40"/>
          </p15:clr>
        </p15:guide>
        <p15:guide id="17" orient="horz" pos="18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 2 column 12 p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Title - two columns font size 12 pt</a:t>
            </a:r>
            <a:endParaRPr lang="en-GB" dirty="0"/>
          </a:p>
        </p:txBody>
      </p:sp>
      <p:sp>
        <p:nvSpPr>
          <p:cNvPr id="8" name="Text Placeholder 7">
            <a:extLst>
              <a:ext uri="{FF2B5EF4-FFF2-40B4-BE49-F238E27FC236}">
                <a16:creationId xmlns:a16="http://schemas.microsoft.com/office/drawing/2014/main" id="{C775BA39-7D03-4A53-A94E-D3484E6288AA}"/>
              </a:ext>
            </a:extLst>
          </p:cNvPr>
          <p:cNvSpPr>
            <a:spLocks noGrp="1"/>
          </p:cNvSpPr>
          <p:nvPr>
            <p:ph type="body" sz="quarter" idx="10"/>
          </p:nvPr>
        </p:nvSpPr>
        <p:spPr>
          <a:xfrm>
            <a:off x="731838" y="981075"/>
            <a:ext cx="5076825" cy="2072362"/>
          </a:xfrm>
        </p:spPr>
        <p:txBody>
          <a:bodyPr/>
          <a:lstStyle>
            <a:lvl1pPr>
              <a:defRPr sz="1200"/>
            </a:lvl1pPr>
            <a:lvl2pPr marL="146050" indent="-146050">
              <a:defRPr sz="1200"/>
            </a:lvl2pPr>
            <a:lvl3pPr marL="342900" indent="-134938">
              <a:defRPr sz="1100"/>
            </a:lvl3pPr>
            <a:lvl4pPr marL="538163" indent="-144463">
              <a:defRPr sz="1100"/>
            </a:lvl4pPr>
            <a:lvl5pPr>
              <a:defRPr sz="1200"/>
            </a:lvl5pPr>
            <a:lvl6pPr>
              <a:defRPr sz="1200"/>
            </a:lvl6pPr>
            <a:lvl7pPr marL="288925" indent="-288925">
              <a:defRPr sz="1200"/>
            </a:lvl7pPr>
            <a:lvl8pPr marL="469900" indent="-171450">
              <a:defRPr sz="11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7">
            <a:extLst>
              <a:ext uri="{FF2B5EF4-FFF2-40B4-BE49-F238E27FC236}">
                <a16:creationId xmlns:a16="http://schemas.microsoft.com/office/drawing/2014/main" id="{9581AFAA-F686-6A44-C84B-674EF1A44EA5}"/>
              </a:ext>
            </a:extLst>
          </p:cNvPr>
          <p:cNvSpPr>
            <a:spLocks noGrp="1"/>
          </p:cNvSpPr>
          <p:nvPr>
            <p:ph type="body" sz="quarter" idx="11"/>
          </p:nvPr>
        </p:nvSpPr>
        <p:spPr>
          <a:xfrm>
            <a:off x="6383339" y="981075"/>
            <a:ext cx="5076825" cy="2072362"/>
          </a:xfrm>
        </p:spPr>
        <p:txBody>
          <a:bodyPr/>
          <a:lstStyle>
            <a:lvl1pPr>
              <a:defRPr sz="1200"/>
            </a:lvl1pPr>
            <a:lvl2pPr marL="146050" indent="-146050">
              <a:defRPr sz="1200"/>
            </a:lvl2pPr>
            <a:lvl3pPr marL="342900" indent="-134938">
              <a:defRPr sz="1100"/>
            </a:lvl3pPr>
            <a:lvl4pPr marL="538163" indent="-144463">
              <a:defRPr sz="1100"/>
            </a:lvl4pPr>
            <a:lvl5pPr>
              <a:defRPr sz="1200"/>
            </a:lvl5pPr>
            <a:lvl6pPr>
              <a:defRPr sz="1200"/>
            </a:lvl6pPr>
            <a:lvl7pPr marL="288925" indent="-288925">
              <a:defRPr sz="1200"/>
            </a:lvl7pPr>
            <a:lvl8pPr marL="469900" indent="-171450">
              <a:defRPr sz="11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21703198"/>
      </p:ext>
    </p:extLst>
  </p:cSld>
  <p:clrMapOvr>
    <a:masterClrMapping/>
  </p:clrMapOvr>
  <p:extLst>
    <p:ext uri="{DCECCB84-F9BA-43D5-87BE-67443E8EF086}">
      <p15:sldGuideLst xmlns:p15="http://schemas.microsoft.com/office/powerpoint/2012/main">
        <p15:guide id="7" orient="horz" pos="3929">
          <p15:clr>
            <a:srgbClr val="F26B43"/>
          </p15:clr>
        </p15:guide>
        <p15:guide id="8" pos="3840">
          <p15:clr>
            <a:srgbClr val="F26B43"/>
          </p15:clr>
        </p15:guide>
        <p15:guide id="9" pos="3659">
          <p15:clr>
            <a:srgbClr val="FBAE40"/>
          </p15:clr>
        </p15:guide>
        <p15:guide id="10" pos="461">
          <p15:clr>
            <a:srgbClr val="F26B43"/>
          </p15:clr>
        </p15:guide>
        <p15:guide id="11" pos="7219">
          <p15:clr>
            <a:srgbClr val="F26B43"/>
          </p15:clr>
        </p15:guide>
        <p15:guide id="12" pos="7514">
          <p15:clr>
            <a:srgbClr val="FBAE40"/>
          </p15:clr>
        </p15:guide>
        <p15:guide id="13" pos="166">
          <p15:clr>
            <a:srgbClr val="FBAE40"/>
          </p15:clr>
        </p15:guide>
        <p15:guide id="14" pos="4021">
          <p15:clr>
            <a:srgbClr val="FBAE40"/>
          </p15:clr>
        </p15:guide>
        <p15:guide id="15" orient="horz" pos="618">
          <p15:clr>
            <a:srgbClr val="F26B43"/>
          </p15:clr>
        </p15:guide>
        <p15:guide id="16" orient="horz" pos="18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 image box with title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Title - large image</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11664950"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Tree>
    <p:extLst>
      <p:ext uri="{BB962C8B-B14F-4D97-AF65-F5344CB8AC3E}">
        <p14:creationId xmlns:p14="http://schemas.microsoft.com/office/powerpoint/2010/main" val="2323216099"/>
      </p:ext>
    </p:extLst>
  </p:cSld>
  <p:clrMapOvr>
    <a:masterClrMapping/>
  </p:clrMapOvr>
  <p:extLst>
    <p:ext uri="{DCECCB84-F9BA-43D5-87BE-67443E8EF086}">
      <p15:sldGuideLst xmlns:p15="http://schemas.microsoft.com/office/powerpoint/2012/main">
        <p15:guide id="7" orient="horz" pos="187">
          <p15:clr>
            <a:srgbClr val="FBAE40"/>
          </p15:clr>
        </p15:guide>
        <p15:guide id="8" pos="166">
          <p15:clr>
            <a:srgbClr val="FBAE40"/>
          </p15:clr>
        </p15:guide>
        <p15:guide id="9" pos="7514">
          <p15:clr>
            <a:srgbClr val="F26B43"/>
          </p15:clr>
        </p15:guide>
        <p15:guide id="10" orient="horz" pos="4156">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slide - panoramic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D56E53-AFA6-1AC2-78DE-B55F29705FD6}"/>
              </a:ext>
            </a:extLst>
          </p:cNvPr>
          <p:cNvSpPr>
            <a:spLocks noGrp="1"/>
          </p:cNvSpPr>
          <p:nvPr>
            <p:ph type="body" sz="quarter" idx="14"/>
          </p:nvPr>
        </p:nvSpPr>
        <p:spPr>
          <a:xfrm>
            <a:off x="731838" y="3033713"/>
            <a:ext cx="8243887" cy="23844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el 1"/>
          <p:cNvSpPr>
            <a:spLocks noGrp="1"/>
          </p:cNvSpPr>
          <p:nvPr>
            <p:ph type="title" hasCustomPrompt="1"/>
          </p:nvPr>
        </p:nvSpPr>
        <p:spPr/>
        <p:txBody>
          <a:bodyPr/>
          <a:lstStyle>
            <a:lvl1pPr>
              <a:defRPr/>
            </a:lvl1pPr>
          </a:lstStyle>
          <a:p>
            <a:r>
              <a:rPr lang="en-US" noProof="0" dirty="0"/>
              <a:t>Title - panoramic image</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11664950" cy="201612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972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Tree>
    <p:extLst>
      <p:ext uri="{BB962C8B-B14F-4D97-AF65-F5344CB8AC3E}">
        <p14:creationId xmlns:p14="http://schemas.microsoft.com/office/powerpoint/2010/main" val="713381416"/>
      </p:ext>
    </p:extLst>
  </p:cSld>
  <p:clrMapOvr>
    <a:masterClrMapping/>
  </p:clrMapOvr>
  <p:extLst>
    <p:ext uri="{DCECCB84-F9BA-43D5-87BE-67443E8EF086}">
      <p15:sldGuideLst xmlns:p15="http://schemas.microsoft.com/office/powerpoint/2012/main">
        <p15:guide id="8" orient="horz" pos="3929">
          <p15:clr>
            <a:srgbClr val="F26B43"/>
          </p15:clr>
        </p15:guide>
        <p15:guide id="9" pos="3840">
          <p15:clr>
            <a:srgbClr val="F26B43"/>
          </p15:clr>
        </p15:guide>
        <p15:guide id="10" orient="horz" pos="187">
          <p15:clr>
            <a:srgbClr val="FBAE40"/>
          </p15:clr>
        </p15:guide>
        <p15:guide id="11" pos="7514">
          <p15:clr>
            <a:srgbClr val="FBAE40"/>
          </p15:clr>
        </p15:guide>
        <p15:guide id="12" pos="7219">
          <p15:clr>
            <a:srgbClr val="F26B43"/>
          </p15:clr>
        </p15:guide>
        <p15:guide id="13" pos="461">
          <p15:clr>
            <a:srgbClr val="F26B43"/>
          </p15:clr>
        </p15:guide>
        <p15:guide id="14" pos="166">
          <p15:clr>
            <a:srgbClr val="FBAE40"/>
          </p15:clr>
        </p15:guide>
        <p15:guide id="15" pos="3659">
          <p15:clr>
            <a:srgbClr val="FBAE40"/>
          </p15:clr>
        </p15:guide>
        <p15:guide id="16" pos="4021">
          <p15:clr>
            <a:srgbClr val="FBAE40"/>
          </p15:clr>
        </p15:guide>
        <p15:guide id="17" pos="5654">
          <p15:clr>
            <a:srgbClr val="5ACBF0"/>
          </p15:clr>
        </p15:guide>
        <p15:guide id="18" orient="horz" pos="1911">
          <p15:clr>
            <a:srgbClr val="F26B43"/>
          </p15:clr>
        </p15:guide>
        <p15:guide id="19" orient="horz" pos="1752">
          <p15:clr>
            <a:srgbClr val="F26B43"/>
          </p15:clr>
        </p15:guide>
        <p15:guide id="20" orient="horz" pos="482">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slide - 3 image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D56E53-AFA6-1AC2-78DE-B55F29705FD6}"/>
              </a:ext>
            </a:extLst>
          </p:cNvPr>
          <p:cNvSpPr>
            <a:spLocks noGrp="1"/>
          </p:cNvSpPr>
          <p:nvPr>
            <p:ph type="body" sz="quarter" idx="14"/>
          </p:nvPr>
        </p:nvSpPr>
        <p:spPr>
          <a:xfrm>
            <a:off x="731838" y="3033713"/>
            <a:ext cx="8243887" cy="23844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el 1"/>
          <p:cNvSpPr>
            <a:spLocks noGrp="1"/>
          </p:cNvSpPr>
          <p:nvPr>
            <p:ph type="title" hasCustomPrompt="1"/>
          </p:nvPr>
        </p:nvSpPr>
        <p:spPr/>
        <p:txBody>
          <a:bodyPr/>
          <a:lstStyle>
            <a:lvl1pPr>
              <a:defRPr/>
            </a:lvl1pPr>
          </a:lstStyle>
          <a:p>
            <a:r>
              <a:rPr lang="en-US" noProof="0" dirty="0"/>
              <a:t>Title - three images</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3816252" cy="201612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60000" tIns="972000" rIns="360000" bIns="0" anchor="ctr" anchorCtr="0">
            <a:noAutofit/>
          </a:bodyPr>
          <a:lstStyle>
            <a:lvl1pPr algn="ctr">
              <a:defRPr sz="1200" b="0" baseline="0">
                <a:solidFill>
                  <a:schemeClr val="bg1"/>
                </a:solidFill>
              </a:defRPr>
            </a:lvl1pPr>
          </a:lstStyle>
          <a:p>
            <a:r>
              <a:rPr lang="en-GB" dirty="0"/>
              <a:t>Click ‘Insert picture’-button and select picture from SharePoint, or choose a ready-to-go slide from the library</a:t>
            </a:r>
          </a:p>
        </p:txBody>
      </p:sp>
      <p:sp>
        <p:nvSpPr>
          <p:cNvPr id="8" name="Picture Placeholder 4">
            <a:extLst>
              <a:ext uri="{FF2B5EF4-FFF2-40B4-BE49-F238E27FC236}">
                <a16:creationId xmlns:a16="http://schemas.microsoft.com/office/drawing/2014/main" id="{D7DC0AC3-50BF-4AB2-7D7C-537CFF1E09C6}"/>
              </a:ext>
            </a:extLst>
          </p:cNvPr>
          <p:cNvSpPr>
            <a:spLocks noGrp="1"/>
          </p:cNvSpPr>
          <p:nvPr>
            <p:ph type="pic" sz="quarter" idx="15" hasCustomPrompt="1"/>
          </p:nvPr>
        </p:nvSpPr>
        <p:spPr>
          <a:xfrm>
            <a:off x="4187874" y="765174"/>
            <a:ext cx="3816252" cy="201612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60000" tIns="972000" rIns="360000" bIns="0" anchor="ctr" anchorCtr="0">
            <a:noAutofit/>
          </a:bodyPr>
          <a:lstStyle>
            <a:lvl1pPr algn="ctr">
              <a:defRPr sz="1200" b="0" baseline="0">
                <a:solidFill>
                  <a:schemeClr val="bg1"/>
                </a:solidFill>
              </a:defRPr>
            </a:lvl1pPr>
          </a:lstStyle>
          <a:p>
            <a:r>
              <a:rPr lang="en-GB" dirty="0"/>
              <a:t>Click ‘Insert picture’-button and select picture from SharePoint, or choose a ready-to-go slide from the library</a:t>
            </a:r>
          </a:p>
        </p:txBody>
      </p:sp>
      <p:sp>
        <p:nvSpPr>
          <p:cNvPr id="9" name="Picture Placeholder 4">
            <a:extLst>
              <a:ext uri="{FF2B5EF4-FFF2-40B4-BE49-F238E27FC236}">
                <a16:creationId xmlns:a16="http://schemas.microsoft.com/office/drawing/2014/main" id="{1C385892-7772-FF5F-4E8D-B3850218BCB7}"/>
              </a:ext>
            </a:extLst>
          </p:cNvPr>
          <p:cNvSpPr>
            <a:spLocks noGrp="1"/>
          </p:cNvSpPr>
          <p:nvPr>
            <p:ph type="pic" sz="quarter" idx="16" hasCustomPrompt="1"/>
          </p:nvPr>
        </p:nvSpPr>
        <p:spPr>
          <a:xfrm>
            <a:off x="8112224" y="765174"/>
            <a:ext cx="3816252" cy="201612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60000" tIns="972000" rIns="360000" bIns="0" anchor="ctr" anchorCtr="0">
            <a:noAutofit/>
          </a:bodyPr>
          <a:lstStyle>
            <a:lvl1pPr algn="ctr">
              <a:defRPr sz="1200" b="0" baseline="0">
                <a:solidFill>
                  <a:schemeClr val="bg1"/>
                </a:solidFill>
              </a:defRPr>
            </a:lvl1pPr>
          </a:lstStyle>
          <a:p>
            <a:r>
              <a:rPr lang="en-GB" dirty="0"/>
              <a:t>Click ‘Insert picture’-button and select picture from SharePoint, or choose a ready-to-go slide from the library</a:t>
            </a:r>
          </a:p>
        </p:txBody>
      </p:sp>
    </p:spTree>
    <p:extLst>
      <p:ext uri="{BB962C8B-B14F-4D97-AF65-F5344CB8AC3E}">
        <p14:creationId xmlns:p14="http://schemas.microsoft.com/office/powerpoint/2010/main" val="545520776"/>
      </p:ext>
    </p:extLst>
  </p:cSld>
  <p:clrMapOvr>
    <a:masterClrMapping/>
  </p:clrMapOvr>
  <p:extLst>
    <p:ext uri="{DCECCB84-F9BA-43D5-87BE-67443E8EF086}">
      <p15:sldGuideLst xmlns:p15="http://schemas.microsoft.com/office/powerpoint/2012/main">
        <p15:guide id="8" orient="horz" pos="3929">
          <p15:clr>
            <a:srgbClr val="F26B43"/>
          </p15:clr>
        </p15:guide>
        <p15:guide id="9" pos="3840">
          <p15:clr>
            <a:srgbClr val="F26B43"/>
          </p15:clr>
        </p15:guide>
        <p15:guide id="10" orient="horz" pos="1752">
          <p15:clr>
            <a:srgbClr val="FBAE40"/>
          </p15:clr>
        </p15:guide>
        <p15:guide id="11" orient="horz" pos="187">
          <p15:clr>
            <a:srgbClr val="FBAE40"/>
          </p15:clr>
        </p15:guide>
        <p15:guide id="12" pos="3659">
          <p15:clr>
            <a:srgbClr val="FBAE40"/>
          </p15:clr>
        </p15:guide>
        <p15:guide id="13" pos="4021">
          <p15:clr>
            <a:srgbClr val="FBAE40"/>
          </p15:clr>
        </p15:guide>
        <p15:guide id="14" pos="7514">
          <p15:clr>
            <a:srgbClr val="FBAE40"/>
          </p15:clr>
        </p15:guide>
        <p15:guide id="15" pos="7219">
          <p15:clr>
            <a:srgbClr val="F26B43"/>
          </p15:clr>
        </p15:guide>
        <p15:guide id="16" pos="5654">
          <p15:clr>
            <a:srgbClr val="5ACBF0"/>
          </p15:clr>
        </p15:guide>
        <p15:guide id="17" pos="166">
          <p15:clr>
            <a:srgbClr val="FBAE40"/>
          </p15:clr>
        </p15:guide>
        <p15:guide id="18" pos="461">
          <p15:clr>
            <a:srgbClr val="F26B43"/>
          </p15:clr>
        </p15:guide>
        <p15:guide id="19" orient="horz" pos="482">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 image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A5139A-726B-F515-C84C-5D0B68467AF8}"/>
              </a:ext>
            </a:extLst>
          </p:cNvPr>
          <p:cNvSpPr>
            <a:spLocks noGrp="1"/>
          </p:cNvSpPr>
          <p:nvPr>
            <p:ph type="pic" sz="quarter" idx="13" hasCustomPrompt="1"/>
          </p:nvPr>
        </p:nvSpPr>
        <p:spPr>
          <a:xfrm>
            <a:off x="7175500" y="765174"/>
            <a:ext cx="4752974"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720000" tIns="1296000" rIns="720000" bIns="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2" name="Titel 1"/>
          <p:cNvSpPr>
            <a:spLocks noGrp="1"/>
          </p:cNvSpPr>
          <p:nvPr>
            <p:ph type="title" hasCustomPrompt="1"/>
          </p:nvPr>
        </p:nvSpPr>
        <p:spPr/>
        <p:txBody>
          <a:bodyPr/>
          <a:lstStyle>
            <a:lvl1pPr>
              <a:defRPr/>
            </a:lvl1pPr>
          </a:lstStyle>
          <a:p>
            <a:r>
              <a:rPr lang="en-US" noProof="0" dirty="0"/>
              <a:t>Title - image right</a:t>
            </a:r>
            <a:endParaRPr lang="en-GB" dirty="0"/>
          </a:p>
        </p:txBody>
      </p:sp>
      <p:sp>
        <p:nvSpPr>
          <p:cNvPr id="8" name="Text Placeholder 7">
            <a:extLst>
              <a:ext uri="{FF2B5EF4-FFF2-40B4-BE49-F238E27FC236}">
                <a16:creationId xmlns:a16="http://schemas.microsoft.com/office/drawing/2014/main" id="{C775BA39-7D03-4A53-A94E-D3484E6288AA}"/>
              </a:ext>
            </a:extLst>
          </p:cNvPr>
          <p:cNvSpPr>
            <a:spLocks noGrp="1"/>
          </p:cNvSpPr>
          <p:nvPr>
            <p:ph type="body" sz="quarter" idx="10"/>
          </p:nvPr>
        </p:nvSpPr>
        <p:spPr>
          <a:xfrm>
            <a:off x="731838" y="981075"/>
            <a:ext cx="5940425" cy="1856919"/>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58196052"/>
      </p:ext>
    </p:extLst>
  </p:cSld>
  <p:clrMapOvr>
    <a:masterClrMapping/>
  </p:clrMapOvr>
  <p:extLst>
    <p:ext uri="{DCECCB84-F9BA-43D5-87BE-67443E8EF086}">
      <p15:sldGuideLst xmlns:p15="http://schemas.microsoft.com/office/powerpoint/2012/main">
        <p15:guide id="9" orient="horz" pos="4156">
          <p15:clr>
            <a:srgbClr val="F26B43"/>
          </p15:clr>
        </p15:guide>
        <p15:guide id="10" pos="461">
          <p15:clr>
            <a:srgbClr val="F26B43"/>
          </p15:clr>
        </p15:guide>
        <p15:guide id="11" pos="4520">
          <p15:clr>
            <a:srgbClr val="FBAE40"/>
          </p15:clr>
        </p15:guide>
        <p15:guide id="12" pos="4203">
          <p15:clr>
            <a:srgbClr val="F26B43"/>
          </p15:clr>
        </p15:guide>
        <p15:guide id="13" orient="horz" pos="3929">
          <p15:clr>
            <a:srgbClr val="F26B43"/>
          </p15:clr>
        </p15:guide>
        <p15:guide id="14" pos="166">
          <p15:clr>
            <a:srgbClr val="FBAE40"/>
          </p15:clr>
        </p15:guide>
        <p15:guide id="15" orient="horz" pos="187">
          <p15:clr>
            <a:srgbClr val="FBAE40"/>
          </p15:clr>
        </p15:guide>
        <p15:guide id="16" pos="7514">
          <p15:clr>
            <a:srgbClr val="FBAE40"/>
          </p15:clr>
        </p15:guide>
        <p15:guide id="17" orient="horz" pos="618">
          <p15:clr>
            <a:srgbClr val="F26B43"/>
          </p15:clr>
        </p15:guide>
        <p15:guide id="18" orient="horz" pos="482">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V 1 person">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A24DE1C-0004-5CF1-B1E5-B20CE0753076}"/>
              </a:ext>
            </a:extLst>
          </p:cNvPr>
          <p:cNvSpPr/>
          <p:nvPr/>
        </p:nvSpPr>
        <p:spPr>
          <a:xfrm>
            <a:off x="263525" y="765174"/>
            <a:ext cx="11664950" cy="58324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2" name="Titel 1"/>
          <p:cNvSpPr>
            <a:spLocks noGrp="1"/>
          </p:cNvSpPr>
          <p:nvPr>
            <p:ph type="title" hasCustomPrompt="1"/>
          </p:nvPr>
        </p:nvSpPr>
        <p:spPr/>
        <p:txBody>
          <a:bodyPr/>
          <a:lstStyle>
            <a:lvl1pPr>
              <a:defRPr/>
            </a:lvl1pPr>
          </a:lstStyle>
          <a:p>
            <a:r>
              <a:rPr lang="en-US" noProof="0" dirty="0"/>
              <a:t>Title for CV slide - one person</a:t>
            </a:r>
            <a:endParaRPr lang="en-GB" dirty="0"/>
          </a:p>
        </p:txBody>
      </p:sp>
      <p:sp>
        <p:nvSpPr>
          <p:cNvPr id="9" name="CVTitleRight_1"/>
          <p:cNvSpPr>
            <a:spLocks noGrp="1"/>
          </p:cNvSpPr>
          <p:nvPr>
            <p:ph type="body" sz="quarter" idx="14" hasCustomPrompt="1"/>
          </p:nvPr>
        </p:nvSpPr>
        <p:spPr>
          <a:xfrm>
            <a:off x="3287713" y="1833507"/>
            <a:ext cx="8172449"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10" name="CVDescriptionRight_1"/>
          <p:cNvSpPr>
            <a:spLocks noGrp="1"/>
          </p:cNvSpPr>
          <p:nvPr>
            <p:ph type="body" sz="quarter" idx="15" hasCustomPrompt="1"/>
          </p:nvPr>
        </p:nvSpPr>
        <p:spPr>
          <a:xfrm>
            <a:off x="3287714" y="2672916"/>
            <a:ext cx="3924300" cy="3564372"/>
          </a:xfrm>
          <a:prstGeom prst="rect">
            <a:avLst/>
          </a:prstGeom>
        </p:spPr>
        <p:txBody>
          <a:bodyPr vert="horz" wrap="square" lIns="0" tIns="0" rIns="0" bIns="0">
            <a:noAutofit/>
          </a:bodyPr>
          <a:lstStyle>
            <a:lvl1pPr marL="0" indent="0">
              <a:buNone/>
              <a:defRPr sz="1200" b="0" baseline="0">
                <a:solidFill>
                  <a:schemeClr val="tx2"/>
                </a:solidFill>
                <a:latin typeface="Arial" pitchFamily="34" charset="0"/>
                <a:cs typeface="Arial" pitchFamily="34" charset="0"/>
              </a:defRPr>
            </a:lvl1pPr>
          </a:lstStyle>
          <a:p>
            <a:pPr lvl="0"/>
            <a:r>
              <a:rPr lang="en-GB" noProof="0" dirty="0"/>
              <a:t>Click here to add a job description (7 rows max)</a:t>
            </a:r>
          </a:p>
          <a:p>
            <a:pPr lvl="0"/>
            <a:endParaRPr lang="en-GB" noProof="0" dirty="0"/>
          </a:p>
          <a:p>
            <a:pPr lvl="0"/>
            <a:endParaRPr lang="en-GB" noProof="0" dirty="0"/>
          </a:p>
          <a:p>
            <a:pPr lvl="0"/>
            <a:endParaRPr lang="en-GB" noProof="0" dirty="0"/>
          </a:p>
          <a:p>
            <a:pPr lvl="0"/>
            <a:endParaRPr lang="en-GB" noProof="0" dirty="0"/>
          </a:p>
          <a:p>
            <a:pPr lvl="0"/>
            <a:r>
              <a:rPr lang="en-GB" noProof="0" dirty="0"/>
              <a:t> </a:t>
            </a:r>
          </a:p>
        </p:txBody>
      </p:sp>
      <p:sp>
        <p:nvSpPr>
          <p:cNvPr id="12" name="CVTelephoneRight_1"/>
          <p:cNvSpPr>
            <a:spLocks noGrp="1"/>
          </p:cNvSpPr>
          <p:nvPr>
            <p:ph type="body" sz="quarter" idx="17" hasCustomPrompt="1"/>
          </p:nvPr>
        </p:nvSpPr>
        <p:spPr>
          <a:xfrm>
            <a:off x="947429" y="3397735"/>
            <a:ext cx="1764630"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3" name="CVEmailRight_1"/>
          <p:cNvSpPr>
            <a:spLocks noGrp="1"/>
          </p:cNvSpPr>
          <p:nvPr>
            <p:ph type="body" sz="quarter" idx="19" hasCustomPrompt="1"/>
          </p:nvPr>
        </p:nvSpPr>
        <p:spPr>
          <a:xfrm>
            <a:off x="947429" y="3910560"/>
            <a:ext cx="1764630"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6" name="CVSubTitleRight_1"/>
          <p:cNvSpPr>
            <a:spLocks noGrp="1"/>
          </p:cNvSpPr>
          <p:nvPr>
            <p:ph type="body" sz="quarter" idx="23" hasCustomPrompt="1"/>
          </p:nvPr>
        </p:nvSpPr>
        <p:spPr>
          <a:xfrm>
            <a:off x="3287713" y="2091386"/>
            <a:ext cx="8172449"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17" name="CVLanguagesRight_1"/>
          <p:cNvSpPr>
            <a:spLocks noGrp="1"/>
          </p:cNvSpPr>
          <p:nvPr>
            <p:ph type="body" sz="quarter" idx="25" hasCustomPrompt="1"/>
          </p:nvPr>
        </p:nvSpPr>
        <p:spPr>
          <a:xfrm>
            <a:off x="7535863" y="2672916"/>
            <a:ext cx="3924300" cy="184666"/>
          </a:xfrm>
          <a:prstGeom prst="rect">
            <a:avLst/>
          </a:prstGeom>
        </p:spPr>
        <p:txBody>
          <a:bodyPr vert="horz" wrap="square" lIns="0" tIns="0" rIns="0" bIns="0">
            <a:spAutoFit/>
          </a:bodyPr>
          <a:lstStyle>
            <a:lvl1pPr marL="0" indent="0">
              <a:buNone/>
              <a:defRPr sz="1200" b="0">
                <a:solidFill>
                  <a:schemeClr val="tx2"/>
                </a:solidFill>
                <a:latin typeface="Arial" pitchFamily="34" charset="0"/>
                <a:cs typeface="Arial" pitchFamily="34" charset="0"/>
              </a:defRPr>
            </a:lvl1pPr>
          </a:lstStyle>
          <a:p>
            <a:pPr lvl="0"/>
            <a:r>
              <a:rPr lang="en-GB" noProof="0" dirty="0"/>
              <a:t>Add languages of proficiency – optional (1 row max)</a:t>
            </a:r>
          </a:p>
        </p:txBody>
      </p:sp>
      <p:sp>
        <p:nvSpPr>
          <p:cNvPr id="18" name="CVEducationRight_1"/>
          <p:cNvSpPr>
            <a:spLocks noGrp="1"/>
          </p:cNvSpPr>
          <p:nvPr>
            <p:ph type="body" sz="quarter" idx="26" hasCustomPrompt="1"/>
          </p:nvPr>
        </p:nvSpPr>
        <p:spPr>
          <a:xfrm>
            <a:off x="7535863" y="3568107"/>
            <a:ext cx="3924300" cy="184666"/>
          </a:xfrm>
          <a:prstGeom prst="rect">
            <a:avLst/>
          </a:prstGeom>
        </p:spPr>
        <p:txBody>
          <a:bodyPr vert="horz" wrap="square" lIns="0" tIns="0" rIns="0" bIns="0">
            <a:spAutoFit/>
          </a:bodyPr>
          <a:lstStyle>
            <a:lvl1pPr marL="0" indent="0">
              <a:buNone/>
              <a:defRPr sz="1200" b="0" baseline="0">
                <a:solidFill>
                  <a:schemeClr val="tx2"/>
                </a:solidFill>
                <a:latin typeface="Arial" pitchFamily="34" charset="0"/>
                <a:cs typeface="Arial" pitchFamily="34" charset="0"/>
              </a:defRPr>
            </a:lvl1pPr>
          </a:lstStyle>
          <a:p>
            <a:pPr lvl="0"/>
            <a:r>
              <a:rPr lang="en-GB" noProof="0" dirty="0"/>
              <a:t>Add education – optional (2 rows max)</a:t>
            </a:r>
          </a:p>
        </p:txBody>
      </p:sp>
      <p:sp>
        <p:nvSpPr>
          <p:cNvPr id="22" name="CVNameRight_1"/>
          <p:cNvSpPr>
            <a:spLocks noGrp="1"/>
          </p:cNvSpPr>
          <p:nvPr>
            <p:ph type="body" sz="quarter" idx="27" hasCustomPrompt="1"/>
          </p:nvPr>
        </p:nvSpPr>
        <p:spPr>
          <a:xfrm>
            <a:off x="3287713" y="1483294"/>
            <a:ext cx="8172449" cy="276999"/>
          </a:xfrm>
          <a:prstGeom prst="rect">
            <a:avLst/>
          </a:prstGeom>
        </p:spPr>
        <p:txBody>
          <a:bodyPr vert="horz" wrap="square" lIns="0" tIns="0" rIns="0" bIns="0">
            <a:spAutoFit/>
          </a:bodyPr>
          <a:lstStyle>
            <a:lvl1pPr marL="0" indent="0">
              <a:buNone/>
              <a:defRPr sz="1800" b="1" baseline="0">
                <a:solidFill>
                  <a:schemeClr val="bg2"/>
                </a:solidFill>
                <a:latin typeface="Arial" pitchFamily="34" charset="0"/>
                <a:cs typeface="Arial" pitchFamily="34" charset="0"/>
              </a:defRPr>
            </a:lvl1pPr>
          </a:lstStyle>
          <a:p>
            <a:pPr lvl="0"/>
            <a:r>
              <a:rPr lang="en-GB" noProof="0" dirty="0"/>
              <a:t>Name</a:t>
            </a:r>
          </a:p>
        </p:txBody>
      </p:sp>
      <p:sp>
        <p:nvSpPr>
          <p:cNvPr id="24" name="CVMobileRight_1"/>
          <p:cNvSpPr>
            <a:spLocks noGrp="1"/>
          </p:cNvSpPr>
          <p:nvPr>
            <p:ph type="body" sz="quarter" idx="28" hasCustomPrompt="1"/>
          </p:nvPr>
        </p:nvSpPr>
        <p:spPr>
          <a:xfrm>
            <a:off x="947429" y="3654148"/>
            <a:ext cx="1764630"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cxnSp>
        <p:nvCxnSpPr>
          <p:cNvPr id="26" name="Straight Connector 25">
            <a:extLst>
              <a:ext uri="{FF2B5EF4-FFF2-40B4-BE49-F238E27FC236}">
                <a16:creationId xmlns:a16="http://schemas.microsoft.com/office/drawing/2014/main" id="{27FBB637-906A-CD72-7C06-6C3284F6921F}"/>
              </a:ext>
            </a:extLst>
          </p:cNvPr>
          <p:cNvCxnSpPr>
            <a:cxnSpLocks/>
          </p:cNvCxnSpPr>
          <p:nvPr userDrawn="1"/>
        </p:nvCxnSpPr>
        <p:spPr>
          <a:xfrm>
            <a:off x="3287713" y="2420888"/>
            <a:ext cx="81724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CVPictureRight_1">
            <a:extLst>
              <a:ext uri="{FF2B5EF4-FFF2-40B4-BE49-F238E27FC236}">
                <a16:creationId xmlns:a16="http://schemas.microsoft.com/office/drawing/2014/main" id="{34CFB31E-375B-1470-6882-D3DCD0792BA7}"/>
              </a:ext>
            </a:extLst>
          </p:cNvPr>
          <p:cNvSpPr>
            <a:spLocks noGrp="1"/>
          </p:cNvSpPr>
          <p:nvPr>
            <p:ph type="pic" sz="quarter" idx="13" hasCustomPrompt="1"/>
          </p:nvPr>
        </p:nvSpPr>
        <p:spPr>
          <a:xfrm>
            <a:off x="731838" y="1268413"/>
            <a:ext cx="1980220" cy="187220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360000" rIns="72000" bIns="0" anchor="t" anchorCtr="0">
            <a:noAutofit/>
          </a:bodyPr>
          <a:lstStyle>
            <a:lvl1pPr algn="ctr">
              <a:lnSpc>
                <a:spcPct val="90000"/>
              </a:lnSpc>
              <a:spcBef>
                <a:spcPts val="0"/>
              </a:spcBef>
              <a:defRPr sz="1000" b="0" baseline="0">
                <a:solidFill>
                  <a:schemeClr val="bg1"/>
                </a:solidFill>
              </a:defRPr>
            </a:lvl1pPr>
          </a:lstStyle>
          <a:p>
            <a:r>
              <a:rPr lang="en-GB" dirty="0"/>
              <a:t>HOW TO ADD</a:t>
            </a:r>
            <a:br>
              <a:rPr lang="en-GB" dirty="0"/>
            </a:br>
            <a:r>
              <a:rPr lang="en-GB" dirty="0"/>
              <a:t>CV TEXT &amp; PHOTO?</a:t>
            </a:r>
            <a:br>
              <a:rPr lang="en-GB" dirty="0"/>
            </a:br>
            <a:br>
              <a:rPr lang="en-GB" dirty="0"/>
            </a:br>
            <a:br>
              <a:rPr lang="en-GB" dirty="0"/>
            </a:br>
            <a:br>
              <a:rPr lang="en-GB" dirty="0"/>
            </a:br>
            <a:br>
              <a:rPr lang="en-GB" dirty="0"/>
            </a:br>
            <a:r>
              <a:rPr lang="en-GB" dirty="0"/>
              <a:t>Select picture placeholder and go to Ribbon &gt; Loyens &amp; Loeff Tab &gt; Insert CV data button</a:t>
            </a:r>
          </a:p>
        </p:txBody>
      </p:sp>
      <p:sp>
        <p:nvSpPr>
          <p:cNvPr id="4" name="Bar Dark blue">
            <a:extLst>
              <a:ext uri="{FF2B5EF4-FFF2-40B4-BE49-F238E27FC236}">
                <a16:creationId xmlns:a16="http://schemas.microsoft.com/office/drawing/2014/main" id="{9E86C9A5-CB71-35F2-CFF5-EF568ECC61BE}"/>
              </a:ext>
            </a:extLst>
          </p:cNvPr>
          <p:cNvSpPr/>
          <p:nvPr userDrawn="1"/>
        </p:nvSpPr>
        <p:spPr>
          <a:xfrm>
            <a:off x="3287713" y="1268413"/>
            <a:ext cx="8172449"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NL" dirty="0" err="1">
              <a:solidFill>
                <a:schemeClr val="bg1"/>
              </a:solidFill>
            </a:endParaRPr>
          </a:p>
        </p:txBody>
      </p:sp>
      <p:sp>
        <p:nvSpPr>
          <p:cNvPr id="15" name="E:">
            <a:extLst>
              <a:ext uri="{FF2B5EF4-FFF2-40B4-BE49-F238E27FC236}">
                <a16:creationId xmlns:a16="http://schemas.microsoft.com/office/drawing/2014/main" id="{8BBD1A91-76DF-69A6-ABE1-C06D8FC8AF11}"/>
              </a:ext>
            </a:extLst>
          </p:cNvPr>
          <p:cNvSpPr txBox="1"/>
          <p:nvPr/>
        </p:nvSpPr>
        <p:spPr>
          <a:xfrm>
            <a:off x="731838" y="365097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14" name="M:">
            <a:extLst>
              <a:ext uri="{FF2B5EF4-FFF2-40B4-BE49-F238E27FC236}">
                <a16:creationId xmlns:a16="http://schemas.microsoft.com/office/drawing/2014/main" id="{5F6010E1-D7F6-61FE-51A8-91965E94FABD}"/>
              </a:ext>
            </a:extLst>
          </p:cNvPr>
          <p:cNvSpPr txBox="1"/>
          <p:nvPr/>
        </p:nvSpPr>
        <p:spPr>
          <a:xfrm>
            <a:off x="731838" y="3907385"/>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11" name="T:">
            <a:extLst>
              <a:ext uri="{FF2B5EF4-FFF2-40B4-BE49-F238E27FC236}">
                <a16:creationId xmlns:a16="http://schemas.microsoft.com/office/drawing/2014/main" id="{476473CE-6640-E674-0727-7A416299374D}"/>
              </a:ext>
            </a:extLst>
          </p:cNvPr>
          <p:cNvSpPr txBox="1"/>
          <p:nvPr/>
        </p:nvSpPr>
        <p:spPr>
          <a:xfrm>
            <a:off x="731838" y="3394560"/>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Tree>
    <p:extLst>
      <p:ext uri="{BB962C8B-B14F-4D97-AF65-F5344CB8AC3E}">
        <p14:creationId xmlns:p14="http://schemas.microsoft.com/office/powerpoint/2010/main" val="344941440"/>
      </p:ext>
    </p:extLst>
  </p:cSld>
  <p:clrMapOvr>
    <a:masterClrMapping/>
  </p:clrMapOvr>
  <p:extLst>
    <p:ext uri="{DCECCB84-F9BA-43D5-87BE-67443E8EF086}">
      <p15:sldGuideLst xmlns:p15="http://schemas.microsoft.com/office/powerpoint/2012/main">
        <p15:guide id="5" pos="2071">
          <p15:clr>
            <a:srgbClr val="FBAE40"/>
          </p15:clr>
        </p15:guide>
        <p15:guide id="6" orient="horz" pos="799">
          <p15:clr>
            <a:srgbClr val="F26B43"/>
          </p15:clr>
        </p15:guide>
        <p15:guide id="7" pos="4543">
          <p15:clr>
            <a:srgbClr val="FBAE40"/>
          </p15:clr>
        </p15:guide>
        <p15:guide id="8" pos="4747">
          <p15:clr>
            <a:srgbClr val="FBAE40"/>
          </p15:clr>
        </p15:guide>
        <p15:guide id="9" pos="7219">
          <p15:clr>
            <a:srgbClr val="F26B43"/>
          </p15:clr>
        </p15:guide>
        <p15:guide id="10" orient="horz" pos="3929">
          <p15:clr>
            <a:srgbClr val="F26B43"/>
          </p15:clr>
        </p15:guide>
        <p15:guide id="11" pos="1708">
          <p15:clr>
            <a:srgbClr val="FBAE40"/>
          </p15:clr>
        </p15:guide>
        <p15:guide id="12" pos="461">
          <p15:clr>
            <a:srgbClr val="F26B43"/>
          </p15:clr>
        </p15:guide>
        <p15:guide id="13" orient="horz" pos="2137">
          <p15:clr>
            <a:srgbClr val="FBAE40"/>
          </p15:clr>
        </p15:guide>
        <p15:guide id="14" orient="horz" pos="935">
          <p15:clr>
            <a:srgbClr val="FBAE40"/>
          </p15:clr>
        </p15:guide>
        <p15:guide id="15" orient="horz" pos="1684">
          <p15:clr>
            <a:srgbClr val="FBAE40"/>
          </p15:clr>
        </p15:guide>
        <p15:guide id="16" orient="horz" pos="187">
          <p15:clr>
            <a:srgbClr val="FBAE40"/>
          </p15:clr>
        </p15:guide>
        <p15:guide id="17" pos="16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V 2 pers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A24DE1C-0004-5CF1-B1E5-B20CE0753076}"/>
              </a:ext>
            </a:extLst>
          </p:cNvPr>
          <p:cNvSpPr/>
          <p:nvPr/>
        </p:nvSpPr>
        <p:spPr>
          <a:xfrm>
            <a:off x="263525" y="765174"/>
            <a:ext cx="11664950" cy="58324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42" name="CVEmailRight_2">
            <a:extLst>
              <a:ext uri="{FF2B5EF4-FFF2-40B4-BE49-F238E27FC236}">
                <a16:creationId xmlns:a16="http://schemas.microsoft.com/office/drawing/2014/main" id="{7BF0625B-6B9B-919B-C1D4-4CDB4E755D06}"/>
              </a:ext>
            </a:extLst>
          </p:cNvPr>
          <p:cNvSpPr>
            <a:spLocks noGrp="1"/>
          </p:cNvSpPr>
          <p:nvPr>
            <p:ph type="body" sz="quarter" idx="32" hasCustomPrompt="1"/>
          </p:nvPr>
        </p:nvSpPr>
        <p:spPr>
          <a:xfrm>
            <a:off x="8106067" y="6065033"/>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50" name="Tekstvak 35">
            <a:extLst>
              <a:ext uri="{FF2B5EF4-FFF2-40B4-BE49-F238E27FC236}">
                <a16:creationId xmlns:a16="http://schemas.microsoft.com/office/drawing/2014/main" id="{4B839251-4550-7519-ADA8-1034382C5394}"/>
              </a:ext>
            </a:extLst>
          </p:cNvPr>
          <p:cNvSpPr txBox="1"/>
          <p:nvPr/>
        </p:nvSpPr>
        <p:spPr>
          <a:xfrm>
            <a:off x="7890477" y="6061858"/>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45" name="CVMobileRight_2">
            <a:extLst>
              <a:ext uri="{FF2B5EF4-FFF2-40B4-BE49-F238E27FC236}">
                <a16:creationId xmlns:a16="http://schemas.microsoft.com/office/drawing/2014/main" id="{AD02C042-2934-E8DE-59EF-BEF4D8CC7DBF}"/>
              </a:ext>
            </a:extLst>
          </p:cNvPr>
          <p:cNvSpPr>
            <a:spLocks noGrp="1"/>
          </p:cNvSpPr>
          <p:nvPr>
            <p:ph type="body" sz="quarter" idx="35" hasCustomPrompt="1"/>
          </p:nvPr>
        </p:nvSpPr>
        <p:spPr>
          <a:xfrm>
            <a:off x="8106067" y="5808621"/>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51" name="Tekstvak 34">
            <a:extLst>
              <a:ext uri="{FF2B5EF4-FFF2-40B4-BE49-F238E27FC236}">
                <a16:creationId xmlns:a16="http://schemas.microsoft.com/office/drawing/2014/main" id="{89B79048-8219-8C6A-05C4-21C9457C3E94}"/>
              </a:ext>
            </a:extLst>
          </p:cNvPr>
          <p:cNvSpPr txBox="1"/>
          <p:nvPr/>
        </p:nvSpPr>
        <p:spPr>
          <a:xfrm>
            <a:off x="7890477" y="5805446"/>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41" name="CVTelephoneRight_2">
            <a:extLst>
              <a:ext uri="{FF2B5EF4-FFF2-40B4-BE49-F238E27FC236}">
                <a16:creationId xmlns:a16="http://schemas.microsoft.com/office/drawing/2014/main" id="{C22074F7-6A0B-DB35-DFB4-9BBB457C5585}"/>
              </a:ext>
            </a:extLst>
          </p:cNvPr>
          <p:cNvSpPr>
            <a:spLocks noGrp="1"/>
          </p:cNvSpPr>
          <p:nvPr>
            <p:ph type="body" sz="quarter" idx="31" hasCustomPrompt="1"/>
          </p:nvPr>
        </p:nvSpPr>
        <p:spPr>
          <a:xfrm>
            <a:off x="8106067" y="5552208"/>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49" name="Tekstvak 33">
            <a:extLst>
              <a:ext uri="{FF2B5EF4-FFF2-40B4-BE49-F238E27FC236}">
                <a16:creationId xmlns:a16="http://schemas.microsoft.com/office/drawing/2014/main" id="{B6890C5D-4BA4-AB25-75B8-C78EB95D9354}"/>
              </a:ext>
            </a:extLst>
          </p:cNvPr>
          <p:cNvSpPr txBox="1"/>
          <p:nvPr/>
        </p:nvSpPr>
        <p:spPr>
          <a:xfrm>
            <a:off x="7890477" y="554903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cxnSp>
        <p:nvCxnSpPr>
          <p:cNvPr id="52" name="Straight Connector 51">
            <a:extLst>
              <a:ext uri="{FF2B5EF4-FFF2-40B4-BE49-F238E27FC236}">
                <a16:creationId xmlns:a16="http://schemas.microsoft.com/office/drawing/2014/main" id="{675A9F2F-BBA6-2541-C3B7-B6A3D389D1CB}"/>
              </a:ext>
            </a:extLst>
          </p:cNvPr>
          <p:cNvCxnSpPr>
            <a:cxnSpLocks/>
          </p:cNvCxnSpPr>
          <p:nvPr/>
        </p:nvCxnSpPr>
        <p:spPr>
          <a:xfrm>
            <a:off x="7894638" y="5464636"/>
            <a:ext cx="35655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CVDescriptionRight_2">
            <a:extLst>
              <a:ext uri="{FF2B5EF4-FFF2-40B4-BE49-F238E27FC236}">
                <a16:creationId xmlns:a16="http://schemas.microsoft.com/office/drawing/2014/main" id="{170935E0-D50D-A007-C5F0-F19D638B1547}"/>
              </a:ext>
            </a:extLst>
          </p:cNvPr>
          <p:cNvSpPr>
            <a:spLocks noGrp="1"/>
          </p:cNvSpPr>
          <p:nvPr>
            <p:ph type="body" sz="quarter" idx="30" hasCustomPrompt="1"/>
          </p:nvPr>
        </p:nvSpPr>
        <p:spPr>
          <a:xfrm>
            <a:off x="7894639" y="2346955"/>
            <a:ext cx="3565524" cy="3013016"/>
          </a:xfrm>
          <a:prstGeom prst="rect">
            <a:avLst/>
          </a:prstGeom>
        </p:spPr>
        <p:txBody>
          <a:bodyPr vert="horz" wrap="square" lIns="0" tIns="0" rIns="0" bIns="0">
            <a:noAutofit/>
          </a:bodyPr>
          <a:lstStyle>
            <a:lvl1pPr marL="0" indent="0">
              <a:buNone/>
              <a:defRPr sz="1200" b="0" baseline="0">
                <a:solidFill>
                  <a:schemeClr val="tx2"/>
                </a:solidFill>
                <a:latin typeface="Arial" pitchFamily="34" charset="0"/>
                <a:cs typeface="Arial" pitchFamily="34" charset="0"/>
              </a:defRPr>
            </a:lvl1pPr>
          </a:lstStyle>
          <a:p>
            <a:pPr lvl="0"/>
            <a:r>
              <a:rPr lang="en-GB" noProof="0" dirty="0"/>
              <a:t>Click here to add a job description (7 rows max)</a:t>
            </a:r>
          </a:p>
          <a:p>
            <a:pPr lvl="0"/>
            <a:endParaRPr lang="en-GB" noProof="0" dirty="0"/>
          </a:p>
          <a:p>
            <a:pPr lvl="0"/>
            <a:endParaRPr lang="en-GB" noProof="0" dirty="0"/>
          </a:p>
          <a:p>
            <a:pPr lvl="0"/>
            <a:endParaRPr lang="en-GB" noProof="0" dirty="0"/>
          </a:p>
          <a:p>
            <a:pPr lvl="0"/>
            <a:endParaRPr lang="en-GB" noProof="0" dirty="0"/>
          </a:p>
          <a:p>
            <a:pPr lvl="0"/>
            <a:r>
              <a:rPr lang="en-GB" noProof="0" dirty="0"/>
              <a:t> </a:t>
            </a:r>
          </a:p>
        </p:txBody>
      </p:sp>
      <p:cxnSp>
        <p:nvCxnSpPr>
          <p:cNvPr id="46" name="Straight Connector 45">
            <a:extLst>
              <a:ext uri="{FF2B5EF4-FFF2-40B4-BE49-F238E27FC236}">
                <a16:creationId xmlns:a16="http://schemas.microsoft.com/office/drawing/2014/main" id="{C885427D-CFFD-8503-6E6F-58EF474936DE}"/>
              </a:ext>
            </a:extLst>
          </p:cNvPr>
          <p:cNvCxnSpPr>
            <a:cxnSpLocks/>
          </p:cNvCxnSpPr>
          <p:nvPr/>
        </p:nvCxnSpPr>
        <p:spPr>
          <a:xfrm>
            <a:off x="7894638" y="2204864"/>
            <a:ext cx="35655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CVSubTitleRight_2">
            <a:extLst>
              <a:ext uri="{FF2B5EF4-FFF2-40B4-BE49-F238E27FC236}">
                <a16:creationId xmlns:a16="http://schemas.microsoft.com/office/drawing/2014/main" id="{366A2D48-7D1E-5AF7-0CE4-195BEF4583D9}"/>
              </a:ext>
            </a:extLst>
          </p:cNvPr>
          <p:cNvSpPr>
            <a:spLocks noGrp="1"/>
          </p:cNvSpPr>
          <p:nvPr>
            <p:ph type="body" sz="quarter" idx="33" hasCustomPrompt="1"/>
          </p:nvPr>
        </p:nvSpPr>
        <p:spPr>
          <a:xfrm>
            <a:off x="7894638" y="1915535"/>
            <a:ext cx="3565525"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39" name="CVTitleRight_2">
            <a:extLst>
              <a:ext uri="{FF2B5EF4-FFF2-40B4-BE49-F238E27FC236}">
                <a16:creationId xmlns:a16="http://schemas.microsoft.com/office/drawing/2014/main" id="{38ABC448-3554-DF01-3C00-0126E9ECB9A7}"/>
              </a:ext>
            </a:extLst>
          </p:cNvPr>
          <p:cNvSpPr>
            <a:spLocks noGrp="1"/>
          </p:cNvSpPr>
          <p:nvPr>
            <p:ph type="body" sz="quarter" idx="29" hasCustomPrompt="1"/>
          </p:nvPr>
        </p:nvSpPr>
        <p:spPr>
          <a:xfrm>
            <a:off x="7894638" y="1667088"/>
            <a:ext cx="3565525"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44" name="CVNameRight_2">
            <a:extLst>
              <a:ext uri="{FF2B5EF4-FFF2-40B4-BE49-F238E27FC236}">
                <a16:creationId xmlns:a16="http://schemas.microsoft.com/office/drawing/2014/main" id="{2438AF3C-09A5-EB33-F8B8-C32F843220F8}"/>
              </a:ext>
            </a:extLst>
          </p:cNvPr>
          <p:cNvSpPr>
            <a:spLocks noGrp="1"/>
          </p:cNvSpPr>
          <p:nvPr>
            <p:ph type="body" sz="quarter" idx="34" hasCustomPrompt="1"/>
          </p:nvPr>
        </p:nvSpPr>
        <p:spPr>
          <a:xfrm>
            <a:off x="7894638" y="1418642"/>
            <a:ext cx="3565526"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48" name="Rectangle 47">
            <a:extLst>
              <a:ext uri="{FF2B5EF4-FFF2-40B4-BE49-F238E27FC236}">
                <a16:creationId xmlns:a16="http://schemas.microsoft.com/office/drawing/2014/main" id="{C4EF4607-5EBD-AE1D-239B-E1C0FAFC8E38}"/>
              </a:ext>
            </a:extLst>
          </p:cNvPr>
          <p:cNvSpPr/>
          <p:nvPr/>
        </p:nvSpPr>
        <p:spPr>
          <a:xfrm>
            <a:off x="7894637" y="1268413"/>
            <a:ext cx="3565526"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47" name="CVPictureRight_2">
            <a:extLst>
              <a:ext uri="{FF2B5EF4-FFF2-40B4-BE49-F238E27FC236}">
                <a16:creationId xmlns:a16="http://schemas.microsoft.com/office/drawing/2014/main" id="{4A8E101F-2C6F-DFFC-173E-98D784AE3076}"/>
              </a:ext>
            </a:extLst>
          </p:cNvPr>
          <p:cNvSpPr>
            <a:spLocks noGrp="1"/>
          </p:cNvSpPr>
          <p:nvPr>
            <p:ph type="pic" sz="quarter" idx="36" hasCustomPrompt="1"/>
          </p:nvPr>
        </p:nvSpPr>
        <p:spPr>
          <a:xfrm>
            <a:off x="6383337" y="1268414"/>
            <a:ext cx="1296000" cy="1225310"/>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36000" tIns="216000" rIns="36000" bIns="0" anchor="t" anchorCtr="0">
            <a:noAutofit/>
          </a:bodyPr>
          <a:lstStyle>
            <a:lvl1pPr algn="ctr">
              <a:lnSpc>
                <a:spcPct val="90000"/>
              </a:lnSpc>
              <a:spcBef>
                <a:spcPts val="0"/>
              </a:spcBef>
              <a:defRPr sz="800" b="0" baseline="0">
                <a:solidFill>
                  <a:schemeClr val="bg1"/>
                </a:solidFill>
              </a:defRPr>
            </a:lvl1pPr>
          </a:lstStyle>
          <a:p>
            <a:r>
              <a:rPr lang="en-GB" dirty="0"/>
              <a:t>HOW TO ADD</a:t>
            </a:r>
            <a:br>
              <a:rPr lang="en-GB" dirty="0"/>
            </a:br>
            <a:r>
              <a:rPr lang="en-GB" dirty="0"/>
              <a:t>CV TEXT &amp; PHOTO?</a:t>
            </a:r>
            <a:br>
              <a:rPr lang="en-GB" dirty="0"/>
            </a:br>
            <a:br>
              <a:rPr lang="en-GB" dirty="0"/>
            </a:br>
            <a:br>
              <a:rPr lang="en-GB" dirty="0"/>
            </a:br>
            <a:br>
              <a:rPr lang="en-GB" dirty="0"/>
            </a:br>
            <a:r>
              <a:rPr lang="en-GB" dirty="0"/>
              <a:t>Select picture placeholder and go to Ribbon &gt; Loyens &amp; Loeff Tab &gt; Insert CV data button</a:t>
            </a:r>
          </a:p>
        </p:txBody>
      </p:sp>
      <p:sp>
        <p:nvSpPr>
          <p:cNvPr id="13" name="CVEmailRight_1"/>
          <p:cNvSpPr>
            <a:spLocks noGrp="1"/>
          </p:cNvSpPr>
          <p:nvPr>
            <p:ph type="body" sz="quarter" idx="19" hasCustomPrompt="1"/>
          </p:nvPr>
        </p:nvSpPr>
        <p:spPr>
          <a:xfrm>
            <a:off x="2454568" y="6065033"/>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4" name="E:">
            <a:extLst>
              <a:ext uri="{FF2B5EF4-FFF2-40B4-BE49-F238E27FC236}">
                <a16:creationId xmlns:a16="http://schemas.microsoft.com/office/drawing/2014/main" id="{5F6010E1-D7F6-61FE-51A8-91965E94FABD}"/>
              </a:ext>
            </a:extLst>
          </p:cNvPr>
          <p:cNvSpPr txBox="1"/>
          <p:nvPr userDrawn="1"/>
        </p:nvSpPr>
        <p:spPr>
          <a:xfrm>
            <a:off x="2238978" y="6061858"/>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24" name="CVMobileRight_1"/>
          <p:cNvSpPr>
            <a:spLocks noGrp="1"/>
          </p:cNvSpPr>
          <p:nvPr>
            <p:ph type="body" sz="quarter" idx="28" hasCustomPrompt="1"/>
          </p:nvPr>
        </p:nvSpPr>
        <p:spPr>
          <a:xfrm>
            <a:off x="2454568" y="5808621"/>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15" name="M:">
            <a:extLst>
              <a:ext uri="{FF2B5EF4-FFF2-40B4-BE49-F238E27FC236}">
                <a16:creationId xmlns:a16="http://schemas.microsoft.com/office/drawing/2014/main" id="{8BBD1A91-76DF-69A6-ABE1-C06D8FC8AF11}"/>
              </a:ext>
            </a:extLst>
          </p:cNvPr>
          <p:cNvSpPr txBox="1"/>
          <p:nvPr userDrawn="1"/>
        </p:nvSpPr>
        <p:spPr>
          <a:xfrm>
            <a:off x="2238978" y="5805446"/>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12" name="CVTelephoneRight_1"/>
          <p:cNvSpPr>
            <a:spLocks noGrp="1"/>
          </p:cNvSpPr>
          <p:nvPr>
            <p:ph type="body" sz="quarter" idx="17" hasCustomPrompt="1"/>
          </p:nvPr>
        </p:nvSpPr>
        <p:spPr>
          <a:xfrm>
            <a:off x="2454568" y="5552208"/>
            <a:ext cx="31373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1" name="T:">
            <a:extLst>
              <a:ext uri="{FF2B5EF4-FFF2-40B4-BE49-F238E27FC236}">
                <a16:creationId xmlns:a16="http://schemas.microsoft.com/office/drawing/2014/main" id="{476473CE-6640-E674-0727-7A416299374D}"/>
              </a:ext>
            </a:extLst>
          </p:cNvPr>
          <p:cNvSpPr txBox="1"/>
          <p:nvPr userDrawn="1"/>
        </p:nvSpPr>
        <p:spPr>
          <a:xfrm>
            <a:off x="2238978" y="554903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cxnSp>
        <p:nvCxnSpPr>
          <p:cNvPr id="37" name="Straight Connector 36">
            <a:extLst>
              <a:ext uri="{FF2B5EF4-FFF2-40B4-BE49-F238E27FC236}">
                <a16:creationId xmlns:a16="http://schemas.microsoft.com/office/drawing/2014/main" id="{009585C5-E927-30B0-4595-49E80D8CD873}"/>
              </a:ext>
            </a:extLst>
          </p:cNvPr>
          <p:cNvCxnSpPr>
            <a:cxnSpLocks/>
          </p:cNvCxnSpPr>
          <p:nvPr/>
        </p:nvCxnSpPr>
        <p:spPr>
          <a:xfrm>
            <a:off x="2243139" y="5464636"/>
            <a:ext cx="35655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CVDescriptionRight_1"/>
          <p:cNvSpPr>
            <a:spLocks noGrp="1"/>
          </p:cNvSpPr>
          <p:nvPr>
            <p:ph type="body" sz="quarter" idx="15" hasCustomPrompt="1"/>
          </p:nvPr>
        </p:nvSpPr>
        <p:spPr>
          <a:xfrm>
            <a:off x="2243140" y="2346955"/>
            <a:ext cx="3565524" cy="3013016"/>
          </a:xfrm>
          <a:prstGeom prst="rect">
            <a:avLst/>
          </a:prstGeom>
        </p:spPr>
        <p:txBody>
          <a:bodyPr vert="horz" wrap="square" lIns="0" tIns="0" rIns="0" bIns="0">
            <a:noAutofit/>
          </a:bodyPr>
          <a:lstStyle>
            <a:lvl1pPr marL="0" indent="0">
              <a:buNone/>
              <a:defRPr sz="1200" b="0" baseline="0">
                <a:solidFill>
                  <a:schemeClr val="tx2"/>
                </a:solidFill>
                <a:latin typeface="Arial" pitchFamily="34" charset="0"/>
                <a:cs typeface="Arial" pitchFamily="34" charset="0"/>
              </a:defRPr>
            </a:lvl1pPr>
          </a:lstStyle>
          <a:p>
            <a:pPr lvl="0"/>
            <a:r>
              <a:rPr lang="en-GB" noProof="0" dirty="0"/>
              <a:t>Click here to add a job description (7 rows max)</a:t>
            </a:r>
          </a:p>
          <a:p>
            <a:pPr lvl="0"/>
            <a:endParaRPr lang="en-GB" noProof="0" dirty="0"/>
          </a:p>
          <a:p>
            <a:pPr lvl="0"/>
            <a:endParaRPr lang="en-GB" noProof="0" dirty="0"/>
          </a:p>
          <a:p>
            <a:pPr lvl="0"/>
            <a:endParaRPr lang="en-GB" noProof="0" dirty="0"/>
          </a:p>
          <a:p>
            <a:pPr lvl="0"/>
            <a:endParaRPr lang="en-GB" noProof="0" dirty="0"/>
          </a:p>
          <a:p>
            <a:pPr lvl="0"/>
            <a:r>
              <a:rPr lang="en-GB" noProof="0" dirty="0"/>
              <a:t> </a:t>
            </a:r>
          </a:p>
        </p:txBody>
      </p:sp>
      <p:cxnSp>
        <p:nvCxnSpPr>
          <p:cNvPr id="26" name="Light Blue Line 1">
            <a:extLst>
              <a:ext uri="{FF2B5EF4-FFF2-40B4-BE49-F238E27FC236}">
                <a16:creationId xmlns:a16="http://schemas.microsoft.com/office/drawing/2014/main" id="{27FBB637-906A-CD72-7C06-6C3284F6921F}"/>
              </a:ext>
            </a:extLst>
          </p:cNvPr>
          <p:cNvCxnSpPr>
            <a:cxnSpLocks/>
          </p:cNvCxnSpPr>
          <p:nvPr/>
        </p:nvCxnSpPr>
        <p:spPr>
          <a:xfrm>
            <a:off x="2243139" y="2204864"/>
            <a:ext cx="35655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CVSubTitleRight_1"/>
          <p:cNvSpPr>
            <a:spLocks noGrp="1"/>
          </p:cNvSpPr>
          <p:nvPr>
            <p:ph type="body" sz="quarter" idx="23" hasCustomPrompt="1"/>
          </p:nvPr>
        </p:nvSpPr>
        <p:spPr>
          <a:xfrm>
            <a:off x="2243139" y="1915535"/>
            <a:ext cx="3565525"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9" name="CVTitleRight_1"/>
          <p:cNvSpPr>
            <a:spLocks noGrp="1"/>
          </p:cNvSpPr>
          <p:nvPr>
            <p:ph type="body" sz="quarter" idx="14" hasCustomPrompt="1"/>
          </p:nvPr>
        </p:nvSpPr>
        <p:spPr>
          <a:xfrm>
            <a:off x="2243139" y="1667088"/>
            <a:ext cx="3565525"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22" name="CVNameRight_1"/>
          <p:cNvSpPr>
            <a:spLocks noGrp="1"/>
          </p:cNvSpPr>
          <p:nvPr>
            <p:ph type="body" sz="quarter" idx="27" hasCustomPrompt="1"/>
          </p:nvPr>
        </p:nvSpPr>
        <p:spPr>
          <a:xfrm>
            <a:off x="2243139" y="1418642"/>
            <a:ext cx="3565526"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4" name="Bar Dark Blue 1">
            <a:extLst>
              <a:ext uri="{FF2B5EF4-FFF2-40B4-BE49-F238E27FC236}">
                <a16:creationId xmlns:a16="http://schemas.microsoft.com/office/drawing/2014/main" id="{9E86C9A5-CB71-35F2-CFF5-EF568ECC61BE}"/>
              </a:ext>
            </a:extLst>
          </p:cNvPr>
          <p:cNvSpPr/>
          <p:nvPr/>
        </p:nvSpPr>
        <p:spPr>
          <a:xfrm>
            <a:off x="2243138" y="1268413"/>
            <a:ext cx="3565526"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31" name="CVPictureRight_1">
            <a:extLst>
              <a:ext uri="{FF2B5EF4-FFF2-40B4-BE49-F238E27FC236}">
                <a16:creationId xmlns:a16="http://schemas.microsoft.com/office/drawing/2014/main" id="{34CFB31E-375B-1470-6882-D3DCD0792BA7}"/>
              </a:ext>
            </a:extLst>
          </p:cNvPr>
          <p:cNvSpPr>
            <a:spLocks noGrp="1"/>
          </p:cNvSpPr>
          <p:nvPr>
            <p:ph type="pic" sz="quarter" idx="13" hasCustomPrompt="1"/>
          </p:nvPr>
        </p:nvSpPr>
        <p:spPr>
          <a:xfrm>
            <a:off x="731838" y="1268414"/>
            <a:ext cx="1296000" cy="1225310"/>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36000" tIns="216000" rIns="36000" bIns="0" anchor="t" anchorCtr="0">
            <a:noAutofit/>
          </a:bodyPr>
          <a:lstStyle>
            <a:lvl1pPr algn="ctr">
              <a:lnSpc>
                <a:spcPct val="90000"/>
              </a:lnSpc>
              <a:spcBef>
                <a:spcPts val="0"/>
              </a:spcBef>
              <a:defRPr sz="800" b="0" baseline="0">
                <a:solidFill>
                  <a:schemeClr val="bg1"/>
                </a:solidFill>
              </a:defRPr>
            </a:lvl1pPr>
          </a:lstStyle>
          <a:p>
            <a:r>
              <a:rPr lang="en-GB" dirty="0"/>
              <a:t>HOW TO ADD</a:t>
            </a:r>
            <a:br>
              <a:rPr lang="en-GB" dirty="0"/>
            </a:br>
            <a:r>
              <a:rPr lang="en-GB" dirty="0"/>
              <a:t>CV TEXT &amp; PHOTO?</a:t>
            </a:r>
            <a:br>
              <a:rPr lang="en-GB" dirty="0"/>
            </a:br>
            <a:br>
              <a:rPr lang="en-GB" dirty="0"/>
            </a:br>
            <a:br>
              <a:rPr lang="en-GB" dirty="0"/>
            </a:br>
            <a:br>
              <a:rPr lang="en-GB" dirty="0"/>
            </a:br>
            <a:r>
              <a:rPr lang="en-GB" dirty="0"/>
              <a:t>Select picture placeholder and go to Ribbon &gt; Loyens &amp; Loeff Tab &gt; Insert CV data button</a:t>
            </a:r>
          </a:p>
        </p:txBody>
      </p:sp>
      <p:sp>
        <p:nvSpPr>
          <p:cNvPr id="2" name="Titel 1"/>
          <p:cNvSpPr>
            <a:spLocks noGrp="1"/>
          </p:cNvSpPr>
          <p:nvPr>
            <p:ph type="title" hasCustomPrompt="1"/>
          </p:nvPr>
        </p:nvSpPr>
        <p:spPr/>
        <p:txBody>
          <a:bodyPr/>
          <a:lstStyle>
            <a:lvl1pPr>
              <a:defRPr/>
            </a:lvl1pPr>
          </a:lstStyle>
          <a:p>
            <a:r>
              <a:rPr lang="en-US" noProof="0" dirty="0"/>
              <a:t>Title for CV slide - two persons</a:t>
            </a:r>
            <a:endParaRPr lang="en-GB" dirty="0"/>
          </a:p>
        </p:txBody>
      </p:sp>
    </p:spTree>
    <p:extLst>
      <p:ext uri="{BB962C8B-B14F-4D97-AF65-F5344CB8AC3E}">
        <p14:creationId xmlns:p14="http://schemas.microsoft.com/office/powerpoint/2010/main" val="1915354552"/>
      </p:ext>
    </p:extLst>
  </p:cSld>
  <p:clrMapOvr>
    <a:masterClrMapping/>
  </p:clrMapOvr>
  <p:extLst>
    <p:ext uri="{DCECCB84-F9BA-43D5-87BE-67443E8EF086}">
      <p15:sldGuideLst xmlns:p15="http://schemas.microsoft.com/office/powerpoint/2012/main">
        <p15:guide id="8" orient="horz" pos="799">
          <p15:clr>
            <a:srgbClr val="F26B43"/>
          </p15:clr>
        </p15:guide>
        <p15:guide id="9" pos="7219">
          <p15:clr>
            <a:srgbClr val="F26B43"/>
          </p15:clr>
        </p15:guide>
        <p15:guide id="10" pos="4838">
          <p15:clr>
            <a:srgbClr val="FBAE40"/>
          </p15:clr>
        </p15:guide>
        <p15:guide id="11" pos="1413">
          <p15:clr>
            <a:srgbClr val="FBAE40"/>
          </p15:clr>
        </p15:guide>
        <p15:guide id="12" orient="horz" pos="1480">
          <p15:clr>
            <a:srgbClr val="FBAE40"/>
          </p15:clr>
        </p15:guide>
        <p15:guide id="13" pos="166">
          <p15:clr>
            <a:srgbClr val="FBAE40"/>
          </p15:clr>
        </p15:guide>
        <p15:guide id="14" orient="horz" pos="187">
          <p15:clr>
            <a:srgbClr val="FBAE40"/>
          </p15:clr>
        </p15:guide>
        <p15:guide id="15" pos="461">
          <p15:clr>
            <a:srgbClr val="F26B43"/>
          </p15:clr>
        </p15:guide>
        <p15:guide id="16" pos="1277">
          <p15:clr>
            <a:srgbClr val="FBAE40"/>
          </p15:clr>
        </p15:guide>
        <p15:guide id="17" pos="4021">
          <p15:clr>
            <a:srgbClr val="FBAE40"/>
          </p15:clr>
        </p15:guide>
        <p15:guide id="18" orient="horz" pos="1570">
          <p15:clr>
            <a:srgbClr val="FBAE40"/>
          </p15:clr>
        </p15:guide>
        <p15:guide id="19" orient="horz" pos="3385">
          <p15:clr>
            <a:srgbClr val="FBAE40"/>
          </p15:clr>
        </p15:guide>
        <p15:guide id="20" orient="horz" pos="3929">
          <p15:clr>
            <a:srgbClr val="F26B43"/>
          </p15:clr>
        </p15:guide>
        <p15:guide id="21" pos="4974">
          <p15:clr>
            <a:srgbClr val="FBAE40"/>
          </p15:clr>
        </p15:guide>
        <p15:guide id="22" pos="3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V 6 pers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A24DE1C-0004-5CF1-B1E5-B20CE0753076}"/>
              </a:ext>
            </a:extLst>
          </p:cNvPr>
          <p:cNvSpPr/>
          <p:nvPr userDrawn="1"/>
        </p:nvSpPr>
        <p:spPr>
          <a:xfrm>
            <a:off x="263525" y="765174"/>
            <a:ext cx="11664950" cy="58324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9" name="CVTitleRight_1"/>
          <p:cNvSpPr>
            <a:spLocks noGrp="1"/>
          </p:cNvSpPr>
          <p:nvPr>
            <p:ph type="body" sz="quarter" idx="14" hasCustomPrompt="1"/>
          </p:nvPr>
        </p:nvSpPr>
        <p:spPr>
          <a:xfrm>
            <a:off x="1847851" y="1643273"/>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12" name="CVTelephoneRight_1"/>
          <p:cNvSpPr>
            <a:spLocks noGrp="1"/>
          </p:cNvSpPr>
          <p:nvPr>
            <p:ph type="body" sz="quarter" idx="17" hasCustomPrompt="1"/>
          </p:nvPr>
        </p:nvSpPr>
        <p:spPr>
          <a:xfrm>
            <a:off x="2065500" y="2265201"/>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3" name="CVEmailRight_1"/>
          <p:cNvSpPr>
            <a:spLocks noGrp="1"/>
          </p:cNvSpPr>
          <p:nvPr>
            <p:ph type="body" sz="quarter" idx="19" hasCustomPrompt="1"/>
          </p:nvPr>
        </p:nvSpPr>
        <p:spPr>
          <a:xfrm>
            <a:off x="2065499" y="2778026"/>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6" name="CVSubTitleRight_1"/>
          <p:cNvSpPr>
            <a:spLocks noGrp="1"/>
          </p:cNvSpPr>
          <p:nvPr>
            <p:ph type="body" sz="quarter" idx="23" hasCustomPrompt="1"/>
          </p:nvPr>
        </p:nvSpPr>
        <p:spPr>
          <a:xfrm>
            <a:off x="1847851" y="1891720"/>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22" name="CVNameRight_1"/>
          <p:cNvSpPr>
            <a:spLocks noGrp="1"/>
          </p:cNvSpPr>
          <p:nvPr>
            <p:ph type="body" sz="quarter" idx="27" hasCustomPrompt="1"/>
          </p:nvPr>
        </p:nvSpPr>
        <p:spPr>
          <a:xfrm>
            <a:off x="1847851" y="1394827"/>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24" name="CVMobileRight_1"/>
          <p:cNvSpPr>
            <a:spLocks noGrp="1"/>
          </p:cNvSpPr>
          <p:nvPr>
            <p:ph type="body" sz="quarter" idx="28" hasCustomPrompt="1"/>
          </p:nvPr>
        </p:nvSpPr>
        <p:spPr>
          <a:xfrm>
            <a:off x="2065499" y="2521614"/>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31" name="CVPictureRight_1">
            <a:extLst>
              <a:ext uri="{FF2B5EF4-FFF2-40B4-BE49-F238E27FC236}">
                <a16:creationId xmlns:a16="http://schemas.microsoft.com/office/drawing/2014/main" id="{34CFB31E-375B-1470-6882-D3DCD0792BA7}"/>
              </a:ext>
            </a:extLst>
          </p:cNvPr>
          <p:cNvSpPr>
            <a:spLocks noGrp="1"/>
          </p:cNvSpPr>
          <p:nvPr>
            <p:ph type="pic" sz="quarter" idx="13" hasCustomPrompt="1"/>
          </p:nvPr>
        </p:nvSpPr>
        <p:spPr>
          <a:xfrm>
            <a:off x="731838" y="1268414"/>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4" name="Rectangle 3">
            <a:extLst>
              <a:ext uri="{FF2B5EF4-FFF2-40B4-BE49-F238E27FC236}">
                <a16:creationId xmlns:a16="http://schemas.microsoft.com/office/drawing/2014/main" id="{9E86C9A5-CB71-35F2-CFF5-EF568ECC61BE}"/>
              </a:ext>
            </a:extLst>
          </p:cNvPr>
          <p:cNvSpPr/>
          <p:nvPr/>
        </p:nvSpPr>
        <p:spPr>
          <a:xfrm>
            <a:off x="1847850" y="1268413"/>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11" name="Tekstvak 33">
            <a:extLst>
              <a:ext uri="{FF2B5EF4-FFF2-40B4-BE49-F238E27FC236}">
                <a16:creationId xmlns:a16="http://schemas.microsoft.com/office/drawing/2014/main" id="{476473CE-6640-E674-0727-7A416299374D}"/>
              </a:ext>
            </a:extLst>
          </p:cNvPr>
          <p:cNvSpPr txBox="1"/>
          <p:nvPr/>
        </p:nvSpPr>
        <p:spPr>
          <a:xfrm>
            <a:off x="1849909" y="226520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14" name="Tekstvak 35">
            <a:extLst>
              <a:ext uri="{FF2B5EF4-FFF2-40B4-BE49-F238E27FC236}">
                <a16:creationId xmlns:a16="http://schemas.microsoft.com/office/drawing/2014/main" id="{5F6010E1-D7F6-61FE-51A8-91965E94FABD}"/>
              </a:ext>
            </a:extLst>
          </p:cNvPr>
          <p:cNvSpPr txBox="1"/>
          <p:nvPr/>
        </p:nvSpPr>
        <p:spPr>
          <a:xfrm>
            <a:off x="1849909" y="2778026"/>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15" name="Tekstvak 34">
            <a:extLst>
              <a:ext uri="{FF2B5EF4-FFF2-40B4-BE49-F238E27FC236}">
                <a16:creationId xmlns:a16="http://schemas.microsoft.com/office/drawing/2014/main" id="{8BBD1A91-76DF-69A6-ABE1-C06D8FC8AF11}"/>
              </a:ext>
            </a:extLst>
          </p:cNvPr>
          <p:cNvSpPr txBox="1"/>
          <p:nvPr/>
        </p:nvSpPr>
        <p:spPr>
          <a:xfrm>
            <a:off x="1849909" y="2521614"/>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34" name="CVTitleRight_2">
            <a:extLst>
              <a:ext uri="{FF2B5EF4-FFF2-40B4-BE49-F238E27FC236}">
                <a16:creationId xmlns:a16="http://schemas.microsoft.com/office/drawing/2014/main" id="{936A86B0-501A-7ED5-E9F0-076CE3118609}"/>
              </a:ext>
            </a:extLst>
          </p:cNvPr>
          <p:cNvSpPr>
            <a:spLocks noGrp="1"/>
          </p:cNvSpPr>
          <p:nvPr>
            <p:ph type="body" sz="quarter" idx="29" hasCustomPrompt="1"/>
          </p:nvPr>
        </p:nvSpPr>
        <p:spPr>
          <a:xfrm>
            <a:off x="5557109" y="1643273"/>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35" name="CVTelephoneRight_2">
            <a:extLst>
              <a:ext uri="{FF2B5EF4-FFF2-40B4-BE49-F238E27FC236}">
                <a16:creationId xmlns:a16="http://schemas.microsoft.com/office/drawing/2014/main" id="{1D9A7CB3-0BFC-F0D6-1DBA-1690D4E52BBD}"/>
              </a:ext>
            </a:extLst>
          </p:cNvPr>
          <p:cNvSpPr>
            <a:spLocks noGrp="1"/>
          </p:cNvSpPr>
          <p:nvPr>
            <p:ph type="body" sz="quarter" idx="30" hasCustomPrompt="1"/>
          </p:nvPr>
        </p:nvSpPr>
        <p:spPr>
          <a:xfrm>
            <a:off x="5772699" y="2265201"/>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36" name="CVEmailRight_2">
            <a:extLst>
              <a:ext uri="{FF2B5EF4-FFF2-40B4-BE49-F238E27FC236}">
                <a16:creationId xmlns:a16="http://schemas.microsoft.com/office/drawing/2014/main" id="{98436B79-33C1-53BB-9ABB-B99721A4B08B}"/>
              </a:ext>
            </a:extLst>
          </p:cNvPr>
          <p:cNvSpPr>
            <a:spLocks noGrp="1"/>
          </p:cNvSpPr>
          <p:nvPr>
            <p:ph type="body" sz="quarter" idx="31" hasCustomPrompt="1"/>
          </p:nvPr>
        </p:nvSpPr>
        <p:spPr>
          <a:xfrm>
            <a:off x="5772698" y="2778026"/>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38" name="CVSubTitleRight_2">
            <a:extLst>
              <a:ext uri="{FF2B5EF4-FFF2-40B4-BE49-F238E27FC236}">
                <a16:creationId xmlns:a16="http://schemas.microsoft.com/office/drawing/2014/main" id="{BC263C9B-1029-3F78-4740-4838D43BDD2E}"/>
              </a:ext>
            </a:extLst>
          </p:cNvPr>
          <p:cNvSpPr>
            <a:spLocks noGrp="1"/>
          </p:cNvSpPr>
          <p:nvPr>
            <p:ph type="body" sz="quarter" idx="32" hasCustomPrompt="1"/>
          </p:nvPr>
        </p:nvSpPr>
        <p:spPr>
          <a:xfrm>
            <a:off x="5557109" y="1891720"/>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53" name="CVNameRight_2">
            <a:extLst>
              <a:ext uri="{FF2B5EF4-FFF2-40B4-BE49-F238E27FC236}">
                <a16:creationId xmlns:a16="http://schemas.microsoft.com/office/drawing/2014/main" id="{97620009-A689-D564-964D-B3B5622EE0CA}"/>
              </a:ext>
            </a:extLst>
          </p:cNvPr>
          <p:cNvSpPr>
            <a:spLocks noGrp="1"/>
          </p:cNvSpPr>
          <p:nvPr>
            <p:ph type="body" sz="quarter" idx="33" hasCustomPrompt="1"/>
          </p:nvPr>
        </p:nvSpPr>
        <p:spPr>
          <a:xfrm>
            <a:off x="5557109" y="1394827"/>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54" name="CVMobileRight_2">
            <a:extLst>
              <a:ext uri="{FF2B5EF4-FFF2-40B4-BE49-F238E27FC236}">
                <a16:creationId xmlns:a16="http://schemas.microsoft.com/office/drawing/2014/main" id="{EA43485C-FCBA-3F5B-3238-697481E56E88}"/>
              </a:ext>
            </a:extLst>
          </p:cNvPr>
          <p:cNvSpPr>
            <a:spLocks noGrp="1"/>
          </p:cNvSpPr>
          <p:nvPr>
            <p:ph type="body" sz="quarter" idx="34" hasCustomPrompt="1"/>
          </p:nvPr>
        </p:nvSpPr>
        <p:spPr>
          <a:xfrm>
            <a:off x="5772698" y="2521614"/>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55" name="CVPictureRight_2">
            <a:extLst>
              <a:ext uri="{FF2B5EF4-FFF2-40B4-BE49-F238E27FC236}">
                <a16:creationId xmlns:a16="http://schemas.microsoft.com/office/drawing/2014/main" id="{612A6AE3-9D6C-4DA6-0F53-8F9965A46155}"/>
              </a:ext>
            </a:extLst>
          </p:cNvPr>
          <p:cNvSpPr>
            <a:spLocks noGrp="1"/>
          </p:cNvSpPr>
          <p:nvPr>
            <p:ph type="pic" sz="quarter" idx="35" hasCustomPrompt="1"/>
          </p:nvPr>
        </p:nvSpPr>
        <p:spPr>
          <a:xfrm>
            <a:off x="4441096" y="1268414"/>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56" name="Rectangle 55">
            <a:extLst>
              <a:ext uri="{FF2B5EF4-FFF2-40B4-BE49-F238E27FC236}">
                <a16:creationId xmlns:a16="http://schemas.microsoft.com/office/drawing/2014/main" id="{6732491E-020A-96BE-237B-6D30B9CB56C9}"/>
              </a:ext>
            </a:extLst>
          </p:cNvPr>
          <p:cNvSpPr/>
          <p:nvPr/>
        </p:nvSpPr>
        <p:spPr>
          <a:xfrm>
            <a:off x="5557108" y="1268413"/>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57" name="Tekstvak 33">
            <a:extLst>
              <a:ext uri="{FF2B5EF4-FFF2-40B4-BE49-F238E27FC236}">
                <a16:creationId xmlns:a16="http://schemas.microsoft.com/office/drawing/2014/main" id="{950FC861-37BA-1B72-E490-C7EDDAB7AEC2}"/>
              </a:ext>
            </a:extLst>
          </p:cNvPr>
          <p:cNvSpPr txBox="1"/>
          <p:nvPr/>
        </p:nvSpPr>
        <p:spPr>
          <a:xfrm>
            <a:off x="5557108" y="226520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58" name="Tekstvak 35">
            <a:extLst>
              <a:ext uri="{FF2B5EF4-FFF2-40B4-BE49-F238E27FC236}">
                <a16:creationId xmlns:a16="http://schemas.microsoft.com/office/drawing/2014/main" id="{353FFE6F-792E-8FF8-6FEE-F30D99D5E2C2}"/>
              </a:ext>
            </a:extLst>
          </p:cNvPr>
          <p:cNvSpPr txBox="1"/>
          <p:nvPr/>
        </p:nvSpPr>
        <p:spPr>
          <a:xfrm>
            <a:off x="5557108" y="2778026"/>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59" name="Tekstvak 34">
            <a:extLst>
              <a:ext uri="{FF2B5EF4-FFF2-40B4-BE49-F238E27FC236}">
                <a16:creationId xmlns:a16="http://schemas.microsoft.com/office/drawing/2014/main" id="{F1B61BB3-9393-A2B5-E7F1-131E43684C10}"/>
              </a:ext>
            </a:extLst>
          </p:cNvPr>
          <p:cNvSpPr txBox="1"/>
          <p:nvPr/>
        </p:nvSpPr>
        <p:spPr>
          <a:xfrm>
            <a:off x="5557108" y="2521614"/>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60" name="CVTitleRight_3">
            <a:extLst>
              <a:ext uri="{FF2B5EF4-FFF2-40B4-BE49-F238E27FC236}">
                <a16:creationId xmlns:a16="http://schemas.microsoft.com/office/drawing/2014/main" id="{3F435E84-559A-074F-F07F-FE8099743796}"/>
              </a:ext>
            </a:extLst>
          </p:cNvPr>
          <p:cNvSpPr>
            <a:spLocks noGrp="1"/>
          </p:cNvSpPr>
          <p:nvPr>
            <p:ph type="body" sz="quarter" idx="36" hasCustomPrompt="1"/>
          </p:nvPr>
        </p:nvSpPr>
        <p:spPr>
          <a:xfrm>
            <a:off x="9266366" y="1643273"/>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61" name="CVTelephoneRight_3">
            <a:extLst>
              <a:ext uri="{FF2B5EF4-FFF2-40B4-BE49-F238E27FC236}">
                <a16:creationId xmlns:a16="http://schemas.microsoft.com/office/drawing/2014/main" id="{8F682AA4-DF8B-0B65-6FF4-23CB63C265A3}"/>
              </a:ext>
            </a:extLst>
          </p:cNvPr>
          <p:cNvSpPr>
            <a:spLocks noGrp="1"/>
          </p:cNvSpPr>
          <p:nvPr>
            <p:ph type="body" sz="quarter" idx="37" hasCustomPrompt="1"/>
          </p:nvPr>
        </p:nvSpPr>
        <p:spPr>
          <a:xfrm>
            <a:off x="9484015" y="2265201"/>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62" name="CVEmailRight_3">
            <a:extLst>
              <a:ext uri="{FF2B5EF4-FFF2-40B4-BE49-F238E27FC236}">
                <a16:creationId xmlns:a16="http://schemas.microsoft.com/office/drawing/2014/main" id="{A429DFC2-E09B-6204-4884-C0538AD58AE5}"/>
              </a:ext>
            </a:extLst>
          </p:cNvPr>
          <p:cNvSpPr>
            <a:spLocks noGrp="1"/>
          </p:cNvSpPr>
          <p:nvPr>
            <p:ph type="body" sz="quarter" idx="38" hasCustomPrompt="1"/>
          </p:nvPr>
        </p:nvSpPr>
        <p:spPr>
          <a:xfrm>
            <a:off x="9484014" y="2778026"/>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63" name="CVSubTitleRight_3">
            <a:extLst>
              <a:ext uri="{FF2B5EF4-FFF2-40B4-BE49-F238E27FC236}">
                <a16:creationId xmlns:a16="http://schemas.microsoft.com/office/drawing/2014/main" id="{E7263445-9520-D99C-3787-1A48A3FC5E19}"/>
              </a:ext>
            </a:extLst>
          </p:cNvPr>
          <p:cNvSpPr>
            <a:spLocks noGrp="1"/>
          </p:cNvSpPr>
          <p:nvPr>
            <p:ph type="body" sz="quarter" idx="39" hasCustomPrompt="1"/>
          </p:nvPr>
        </p:nvSpPr>
        <p:spPr>
          <a:xfrm>
            <a:off x="9266366" y="1891720"/>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64" name="CVNameRight_3">
            <a:extLst>
              <a:ext uri="{FF2B5EF4-FFF2-40B4-BE49-F238E27FC236}">
                <a16:creationId xmlns:a16="http://schemas.microsoft.com/office/drawing/2014/main" id="{5A9E09D2-B085-CFD9-E78C-7B3B4230F735}"/>
              </a:ext>
            </a:extLst>
          </p:cNvPr>
          <p:cNvSpPr>
            <a:spLocks noGrp="1"/>
          </p:cNvSpPr>
          <p:nvPr>
            <p:ph type="body" sz="quarter" idx="40" hasCustomPrompt="1"/>
          </p:nvPr>
        </p:nvSpPr>
        <p:spPr>
          <a:xfrm>
            <a:off x="9266366" y="1394827"/>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65" name="CVMobileRight_3">
            <a:extLst>
              <a:ext uri="{FF2B5EF4-FFF2-40B4-BE49-F238E27FC236}">
                <a16:creationId xmlns:a16="http://schemas.microsoft.com/office/drawing/2014/main" id="{5AD5DF0D-2D84-FFB1-08E8-DF24E6AD4E0D}"/>
              </a:ext>
            </a:extLst>
          </p:cNvPr>
          <p:cNvSpPr>
            <a:spLocks noGrp="1"/>
          </p:cNvSpPr>
          <p:nvPr>
            <p:ph type="body" sz="quarter" idx="41" hasCustomPrompt="1"/>
          </p:nvPr>
        </p:nvSpPr>
        <p:spPr>
          <a:xfrm>
            <a:off x="9484014" y="2521614"/>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66" name="CVPictureRight_3">
            <a:extLst>
              <a:ext uri="{FF2B5EF4-FFF2-40B4-BE49-F238E27FC236}">
                <a16:creationId xmlns:a16="http://schemas.microsoft.com/office/drawing/2014/main" id="{25748E2B-5DA3-7D4F-1A8C-A0300782A8D2}"/>
              </a:ext>
            </a:extLst>
          </p:cNvPr>
          <p:cNvSpPr>
            <a:spLocks noGrp="1"/>
          </p:cNvSpPr>
          <p:nvPr>
            <p:ph type="pic" sz="quarter" idx="42" hasCustomPrompt="1"/>
          </p:nvPr>
        </p:nvSpPr>
        <p:spPr>
          <a:xfrm>
            <a:off x="8150353" y="1268414"/>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67" name="Rectangle 66">
            <a:extLst>
              <a:ext uri="{FF2B5EF4-FFF2-40B4-BE49-F238E27FC236}">
                <a16:creationId xmlns:a16="http://schemas.microsoft.com/office/drawing/2014/main" id="{69647C96-540B-C932-487A-8B8401088711}"/>
              </a:ext>
            </a:extLst>
          </p:cNvPr>
          <p:cNvSpPr/>
          <p:nvPr/>
        </p:nvSpPr>
        <p:spPr>
          <a:xfrm>
            <a:off x="9266365" y="1268413"/>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68" name="Tekstvak 33">
            <a:extLst>
              <a:ext uri="{FF2B5EF4-FFF2-40B4-BE49-F238E27FC236}">
                <a16:creationId xmlns:a16="http://schemas.microsoft.com/office/drawing/2014/main" id="{3797B4E3-D5C8-4E8D-8473-C45E14969692}"/>
              </a:ext>
            </a:extLst>
          </p:cNvPr>
          <p:cNvSpPr txBox="1"/>
          <p:nvPr/>
        </p:nvSpPr>
        <p:spPr>
          <a:xfrm>
            <a:off x="9268424" y="226520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69" name="Tekstvak 35">
            <a:extLst>
              <a:ext uri="{FF2B5EF4-FFF2-40B4-BE49-F238E27FC236}">
                <a16:creationId xmlns:a16="http://schemas.microsoft.com/office/drawing/2014/main" id="{891D626B-96E7-4557-866E-B2924F89D37A}"/>
              </a:ext>
            </a:extLst>
          </p:cNvPr>
          <p:cNvSpPr txBox="1"/>
          <p:nvPr/>
        </p:nvSpPr>
        <p:spPr>
          <a:xfrm>
            <a:off x="9268424" y="2778026"/>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70" name="Tekstvak 34">
            <a:extLst>
              <a:ext uri="{FF2B5EF4-FFF2-40B4-BE49-F238E27FC236}">
                <a16:creationId xmlns:a16="http://schemas.microsoft.com/office/drawing/2014/main" id="{1B772C85-D81B-1EB2-163E-AABDFBBC3289}"/>
              </a:ext>
            </a:extLst>
          </p:cNvPr>
          <p:cNvSpPr txBox="1"/>
          <p:nvPr/>
        </p:nvSpPr>
        <p:spPr>
          <a:xfrm>
            <a:off x="9268424" y="2521614"/>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104" name="CVTitleRight_4">
            <a:extLst>
              <a:ext uri="{FF2B5EF4-FFF2-40B4-BE49-F238E27FC236}">
                <a16:creationId xmlns:a16="http://schemas.microsoft.com/office/drawing/2014/main" id="{DB5D45D8-BDED-D088-A592-29C0B3AF42BA}"/>
              </a:ext>
            </a:extLst>
          </p:cNvPr>
          <p:cNvSpPr>
            <a:spLocks noGrp="1"/>
          </p:cNvSpPr>
          <p:nvPr>
            <p:ph type="body" sz="quarter" idx="43" hasCustomPrompt="1"/>
          </p:nvPr>
        </p:nvSpPr>
        <p:spPr>
          <a:xfrm>
            <a:off x="1847851" y="3988820"/>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105" name="CVTelephoneRight_4">
            <a:extLst>
              <a:ext uri="{FF2B5EF4-FFF2-40B4-BE49-F238E27FC236}">
                <a16:creationId xmlns:a16="http://schemas.microsoft.com/office/drawing/2014/main" id="{5698CC1C-D528-D4B1-499D-82629D7B514A}"/>
              </a:ext>
            </a:extLst>
          </p:cNvPr>
          <p:cNvSpPr>
            <a:spLocks noGrp="1"/>
          </p:cNvSpPr>
          <p:nvPr>
            <p:ph type="body" sz="quarter" idx="44" hasCustomPrompt="1"/>
          </p:nvPr>
        </p:nvSpPr>
        <p:spPr>
          <a:xfrm>
            <a:off x="2065500" y="4610748"/>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06" name="CVEmailRight_4">
            <a:extLst>
              <a:ext uri="{FF2B5EF4-FFF2-40B4-BE49-F238E27FC236}">
                <a16:creationId xmlns:a16="http://schemas.microsoft.com/office/drawing/2014/main" id="{33FBC099-242B-A1F9-6DDF-D4ED83E96687}"/>
              </a:ext>
            </a:extLst>
          </p:cNvPr>
          <p:cNvSpPr>
            <a:spLocks noGrp="1"/>
          </p:cNvSpPr>
          <p:nvPr>
            <p:ph type="body" sz="quarter" idx="45" hasCustomPrompt="1"/>
          </p:nvPr>
        </p:nvSpPr>
        <p:spPr>
          <a:xfrm>
            <a:off x="2065499" y="5123573"/>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07" name="CVSubTitleRight_4">
            <a:extLst>
              <a:ext uri="{FF2B5EF4-FFF2-40B4-BE49-F238E27FC236}">
                <a16:creationId xmlns:a16="http://schemas.microsoft.com/office/drawing/2014/main" id="{3C527F3C-35C3-BD6F-EF60-D2ADA6A96960}"/>
              </a:ext>
            </a:extLst>
          </p:cNvPr>
          <p:cNvSpPr>
            <a:spLocks noGrp="1"/>
          </p:cNvSpPr>
          <p:nvPr>
            <p:ph type="body" sz="quarter" idx="46" hasCustomPrompt="1"/>
          </p:nvPr>
        </p:nvSpPr>
        <p:spPr>
          <a:xfrm>
            <a:off x="1847851" y="4237267"/>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108" name="CVNameRight_4">
            <a:extLst>
              <a:ext uri="{FF2B5EF4-FFF2-40B4-BE49-F238E27FC236}">
                <a16:creationId xmlns:a16="http://schemas.microsoft.com/office/drawing/2014/main" id="{D4D60CF8-1C62-6654-C7A7-68CD288E6C28}"/>
              </a:ext>
            </a:extLst>
          </p:cNvPr>
          <p:cNvSpPr>
            <a:spLocks noGrp="1"/>
          </p:cNvSpPr>
          <p:nvPr>
            <p:ph type="body" sz="quarter" idx="47" hasCustomPrompt="1"/>
          </p:nvPr>
        </p:nvSpPr>
        <p:spPr>
          <a:xfrm>
            <a:off x="1847851" y="3740374"/>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109" name="CVMobileRight_4">
            <a:extLst>
              <a:ext uri="{FF2B5EF4-FFF2-40B4-BE49-F238E27FC236}">
                <a16:creationId xmlns:a16="http://schemas.microsoft.com/office/drawing/2014/main" id="{C8299519-3AA9-7623-13BA-28B26E62515A}"/>
              </a:ext>
            </a:extLst>
          </p:cNvPr>
          <p:cNvSpPr>
            <a:spLocks noGrp="1"/>
          </p:cNvSpPr>
          <p:nvPr>
            <p:ph type="body" sz="quarter" idx="48" hasCustomPrompt="1"/>
          </p:nvPr>
        </p:nvSpPr>
        <p:spPr>
          <a:xfrm>
            <a:off x="2065499" y="4867161"/>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110" name="CVPictureRight_4">
            <a:extLst>
              <a:ext uri="{FF2B5EF4-FFF2-40B4-BE49-F238E27FC236}">
                <a16:creationId xmlns:a16="http://schemas.microsoft.com/office/drawing/2014/main" id="{A149CF84-9DB9-C630-56CF-69FA75208C31}"/>
              </a:ext>
            </a:extLst>
          </p:cNvPr>
          <p:cNvSpPr>
            <a:spLocks noGrp="1"/>
          </p:cNvSpPr>
          <p:nvPr>
            <p:ph type="pic" sz="quarter" idx="49" hasCustomPrompt="1"/>
          </p:nvPr>
        </p:nvSpPr>
        <p:spPr>
          <a:xfrm>
            <a:off x="731838" y="3613961"/>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111" name="Rectangle 110">
            <a:extLst>
              <a:ext uri="{FF2B5EF4-FFF2-40B4-BE49-F238E27FC236}">
                <a16:creationId xmlns:a16="http://schemas.microsoft.com/office/drawing/2014/main" id="{E9DF1652-9A4A-4E99-3442-CD7F51F0B89C}"/>
              </a:ext>
            </a:extLst>
          </p:cNvPr>
          <p:cNvSpPr/>
          <p:nvPr/>
        </p:nvSpPr>
        <p:spPr>
          <a:xfrm>
            <a:off x="1847850" y="3613960"/>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112" name="Tekstvak 33">
            <a:extLst>
              <a:ext uri="{FF2B5EF4-FFF2-40B4-BE49-F238E27FC236}">
                <a16:creationId xmlns:a16="http://schemas.microsoft.com/office/drawing/2014/main" id="{203FDF26-9E18-0BCC-F377-AA92714D2D0C}"/>
              </a:ext>
            </a:extLst>
          </p:cNvPr>
          <p:cNvSpPr txBox="1"/>
          <p:nvPr/>
        </p:nvSpPr>
        <p:spPr>
          <a:xfrm>
            <a:off x="1849909" y="4610748"/>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113" name="Tekstvak 35">
            <a:extLst>
              <a:ext uri="{FF2B5EF4-FFF2-40B4-BE49-F238E27FC236}">
                <a16:creationId xmlns:a16="http://schemas.microsoft.com/office/drawing/2014/main" id="{E6910106-EAC4-4FAD-3249-D7040AB98D58}"/>
              </a:ext>
            </a:extLst>
          </p:cNvPr>
          <p:cNvSpPr txBox="1"/>
          <p:nvPr/>
        </p:nvSpPr>
        <p:spPr>
          <a:xfrm>
            <a:off x="1849909" y="512357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114" name="Tekstvak 34">
            <a:extLst>
              <a:ext uri="{FF2B5EF4-FFF2-40B4-BE49-F238E27FC236}">
                <a16:creationId xmlns:a16="http://schemas.microsoft.com/office/drawing/2014/main" id="{43B0C39E-CFCF-11A4-E9C2-05D29A828007}"/>
              </a:ext>
            </a:extLst>
          </p:cNvPr>
          <p:cNvSpPr txBox="1"/>
          <p:nvPr/>
        </p:nvSpPr>
        <p:spPr>
          <a:xfrm>
            <a:off x="1849909" y="486716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115" name="CVTitleRight_5">
            <a:extLst>
              <a:ext uri="{FF2B5EF4-FFF2-40B4-BE49-F238E27FC236}">
                <a16:creationId xmlns:a16="http://schemas.microsoft.com/office/drawing/2014/main" id="{4EF9A875-10BA-92A3-AF53-9197CBCA246D}"/>
              </a:ext>
            </a:extLst>
          </p:cNvPr>
          <p:cNvSpPr>
            <a:spLocks noGrp="1"/>
          </p:cNvSpPr>
          <p:nvPr>
            <p:ph type="body" sz="quarter" idx="50" hasCustomPrompt="1"/>
          </p:nvPr>
        </p:nvSpPr>
        <p:spPr>
          <a:xfrm>
            <a:off x="5557109" y="3988820"/>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116" name="CVTelephoneRight_5">
            <a:extLst>
              <a:ext uri="{FF2B5EF4-FFF2-40B4-BE49-F238E27FC236}">
                <a16:creationId xmlns:a16="http://schemas.microsoft.com/office/drawing/2014/main" id="{F15BC409-62F2-51CA-8115-3A0330DFDBCF}"/>
              </a:ext>
            </a:extLst>
          </p:cNvPr>
          <p:cNvSpPr>
            <a:spLocks noGrp="1"/>
          </p:cNvSpPr>
          <p:nvPr>
            <p:ph type="body" sz="quarter" idx="51" hasCustomPrompt="1"/>
          </p:nvPr>
        </p:nvSpPr>
        <p:spPr>
          <a:xfrm>
            <a:off x="5772699" y="4610748"/>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17" name="CVEmailRight_5">
            <a:extLst>
              <a:ext uri="{FF2B5EF4-FFF2-40B4-BE49-F238E27FC236}">
                <a16:creationId xmlns:a16="http://schemas.microsoft.com/office/drawing/2014/main" id="{E1C076D9-8271-B6FA-772C-D6866250A7A6}"/>
              </a:ext>
            </a:extLst>
          </p:cNvPr>
          <p:cNvSpPr>
            <a:spLocks noGrp="1"/>
          </p:cNvSpPr>
          <p:nvPr>
            <p:ph type="body" sz="quarter" idx="52" hasCustomPrompt="1"/>
          </p:nvPr>
        </p:nvSpPr>
        <p:spPr>
          <a:xfrm>
            <a:off x="5772698" y="5123573"/>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18" name="CVSubTitleRight_5">
            <a:extLst>
              <a:ext uri="{FF2B5EF4-FFF2-40B4-BE49-F238E27FC236}">
                <a16:creationId xmlns:a16="http://schemas.microsoft.com/office/drawing/2014/main" id="{B1802936-09F0-2B65-5E1A-3644FD2ED1F8}"/>
              </a:ext>
            </a:extLst>
          </p:cNvPr>
          <p:cNvSpPr>
            <a:spLocks noGrp="1"/>
          </p:cNvSpPr>
          <p:nvPr>
            <p:ph type="body" sz="quarter" idx="53" hasCustomPrompt="1"/>
          </p:nvPr>
        </p:nvSpPr>
        <p:spPr>
          <a:xfrm>
            <a:off x="5557109" y="4237267"/>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119" name="CVNameRight_5">
            <a:extLst>
              <a:ext uri="{FF2B5EF4-FFF2-40B4-BE49-F238E27FC236}">
                <a16:creationId xmlns:a16="http://schemas.microsoft.com/office/drawing/2014/main" id="{1EE70D7A-AB7E-8323-C21B-21FB24CC30A1}"/>
              </a:ext>
            </a:extLst>
          </p:cNvPr>
          <p:cNvSpPr>
            <a:spLocks noGrp="1"/>
          </p:cNvSpPr>
          <p:nvPr>
            <p:ph type="body" sz="quarter" idx="54" hasCustomPrompt="1"/>
          </p:nvPr>
        </p:nvSpPr>
        <p:spPr>
          <a:xfrm>
            <a:off x="5557109" y="3740374"/>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120" name="CVMobileRight_5">
            <a:extLst>
              <a:ext uri="{FF2B5EF4-FFF2-40B4-BE49-F238E27FC236}">
                <a16:creationId xmlns:a16="http://schemas.microsoft.com/office/drawing/2014/main" id="{B460B3A7-27BB-980E-C9E8-DA5BA84FB27E}"/>
              </a:ext>
            </a:extLst>
          </p:cNvPr>
          <p:cNvSpPr>
            <a:spLocks noGrp="1"/>
          </p:cNvSpPr>
          <p:nvPr>
            <p:ph type="body" sz="quarter" idx="55" hasCustomPrompt="1"/>
          </p:nvPr>
        </p:nvSpPr>
        <p:spPr>
          <a:xfrm>
            <a:off x="5772698" y="4867161"/>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121" name="CVPictureRight_5">
            <a:extLst>
              <a:ext uri="{FF2B5EF4-FFF2-40B4-BE49-F238E27FC236}">
                <a16:creationId xmlns:a16="http://schemas.microsoft.com/office/drawing/2014/main" id="{63025FFD-444D-AAB5-6B4B-607D18C90F7E}"/>
              </a:ext>
            </a:extLst>
          </p:cNvPr>
          <p:cNvSpPr>
            <a:spLocks noGrp="1"/>
          </p:cNvSpPr>
          <p:nvPr>
            <p:ph type="pic" sz="quarter" idx="56" hasCustomPrompt="1"/>
          </p:nvPr>
        </p:nvSpPr>
        <p:spPr>
          <a:xfrm>
            <a:off x="4441096" y="3613961"/>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122" name="Rectangle 121">
            <a:extLst>
              <a:ext uri="{FF2B5EF4-FFF2-40B4-BE49-F238E27FC236}">
                <a16:creationId xmlns:a16="http://schemas.microsoft.com/office/drawing/2014/main" id="{26102AC6-D8E9-753E-66B4-0F9A252E5ADF}"/>
              </a:ext>
            </a:extLst>
          </p:cNvPr>
          <p:cNvSpPr/>
          <p:nvPr/>
        </p:nvSpPr>
        <p:spPr>
          <a:xfrm>
            <a:off x="5557108" y="3613960"/>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123" name="Tekstvak 33">
            <a:extLst>
              <a:ext uri="{FF2B5EF4-FFF2-40B4-BE49-F238E27FC236}">
                <a16:creationId xmlns:a16="http://schemas.microsoft.com/office/drawing/2014/main" id="{CFABA75C-5224-7CCB-D38A-A7E2A57BEA87}"/>
              </a:ext>
            </a:extLst>
          </p:cNvPr>
          <p:cNvSpPr txBox="1"/>
          <p:nvPr/>
        </p:nvSpPr>
        <p:spPr>
          <a:xfrm>
            <a:off x="5557108" y="4610748"/>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124" name="Tekstvak 35">
            <a:extLst>
              <a:ext uri="{FF2B5EF4-FFF2-40B4-BE49-F238E27FC236}">
                <a16:creationId xmlns:a16="http://schemas.microsoft.com/office/drawing/2014/main" id="{2207CB3C-2DCF-0622-772E-F6C98EE45BD2}"/>
              </a:ext>
            </a:extLst>
          </p:cNvPr>
          <p:cNvSpPr txBox="1"/>
          <p:nvPr/>
        </p:nvSpPr>
        <p:spPr>
          <a:xfrm>
            <a:off x="5557108" y="512357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125" name="Tekstvak 34">
            <a:extLst>
              <a:ext uri="{FF2B5EF4-FFF2-40B4-BE49-F238E27FC236}">
                <a16:creationId xmlns:a16="http://schemas.microsoft.com/office/drawing/2014/main" id="{01AC09D5-69D8-4A3E-71A0-6EF2B89DF8AA}"/>
              </a:ext>
            </a:extLst>
          </p:cNvPr>
          <p:cNvSpPr txBox="1"/>
          <p:nvPr/>
        </p:nvSpPr>
        <p:spPr>
          <a:xfrm>
            <a:off x="5557108" y="486716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126" name="CVTitleRight_6">
            <a:extLst>
              <a:ext uri="{FF2B5EF4-FFF2-40B4-BE49-F238E27FC236}">
                <a16:creationId xmlns:a16="http://schemas.microsoft.com/office/drawing/2014/main" id="{6A595DCB-3A8E-309D-99CA-2CFC9F6D5677}"/>
              </a:ext>
            </a:extLst>
          </p:cNvPr>
          <p:cNvSpPr>
            <a:spLocks noGrp="1"/>
          </p:cNvSpPr>
          <p:nvPr>
            <p:ph type="body" sz="quarter" idx="57" hasCustomPrompt="1"/>
          </p:nvPr>
        </p:nvSpPr>
        <p:spPr>
          <a:xfrm>
            <a:off x="9266366" y="3988820"/>
            <a:ext cx="2195921"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dirty="0"/>
              <a:t>Title (1 row max)</a:t>
            </a:r>
          </a:p>
        </p:txBody>
      </p:sp>
      <p:sp>
        <p:nvSpPr>
          <p:cNvPr id="127" name="CVTelephoneRight_6">
            <a:extLst>
              <a:ext uri="{FF2B5EF4-FFF2-40B4-BE49-F238E27FC236}">
                <a16:creationId xmlns:a16="http://schemas.microsoft.com/office/drawing/2014/main" id="{0554DA3E-04F0-422E-B26A-39C76EC6F4B7}"/>
              </a:ext>
            </a:extLst>
          </p:cNvPr>
          <p:cNvSpPr>
            <a:spLocks noGrp="1"/>
          </p:cNvSpPr>
          <p:nvPr>
            <p:ph type="body" sz="quarter" idx="58" hasCustomPrompt="1"/>
          </p:nvPr>
        </p:nvSpPr>
        <p:spPr>
          <a:xfrm>
            <a:off x="9484015" y="4610748"/>
            <a:ext cx="1978274"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Phone number</a:t>
            </a:r>
          </a:p>
        </p:txBody>
      </p:sp>
      <p:sp>
        <p:nvSpPr>
          <p:cNvPr id="128" name="CVEmailRight_6">
            <a:extLst>
              <a:ext uri="{FF2B5EF4-FFF2-40B4-BE49-F238E27FC236}">
                <a16:creationId xmlns:a16="http://schemas.microsoft.com/office/drawing/2014/main" id="{A0DAD3BB-B2D2-E3E1-1854-9D3145D64963}"/>
              </a:ext>
            </a:extLst>
          </p:cNvPr>
          <p:cNvSpPr>
            <a:spLocks noGrp="1"/>
          </p:cNvSpPr>
          <p:nvPr>
            <p:ph type="body" sz="quarter" idx="59" hasCustomPrompt="1"/>
          </p:nvPr>
        </p:nvSpPr>
        <p:spPr>
          <a:xfrm>
            <a:off x="9484014" y="5123573"/>
            <a:ext cx="197827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Email address</a:t>
            </a:r>
          </a:p>
        </p:txBody>
      </p:sp>
      <p:sp>
        <p:nvSpPr>
          <p:cNvPr id="129" name="CVSubTitleRight_6">
            <a:extLst>
              <a:ext uri="{FF2B5EF4-FFF2-40B4-BE49-F238E27FC236}">
                <a16:creationId xmlns:a16="http://schemas.microsoft.com/office/drawing/2014/main" id="{7198A046-BD9B-B4E7-D04F-18E8AC218F8C}"/>
              </a:ext>
            </a:extLst>
          </p:cNvPr>
          <p:cNvSpPr>
            <a:spLocks noGrp="1"/>
          </p:cNvSpPr>
          <p:nvPr>
            <p:ph type="body" sz="quarter" idx="60" hasCustomPrompt="1"/>
          </p:nvPr>
        </p:nvSpPr>
        <p:spPr>
          <a:xfrm>
            <a:off x="9266366" y="4237267"/>
            <a:ext cx="2195921"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dirty="0"/>
              <a:t>Subtitle – optional (1 row max)</a:t>
            </a:r>
          </a:p>
        </p:txBody>
      </p:sp>
      <p:sp>
        <p:nvSpPr>
          <p:cNvPr id="130" name="CVNameRight_6">
            <a:extLst>
              <a:ext uri="{FF2B5EF4-FFF2-40B4-BE49-F238E27FC236}">
                <a16:creationId xmlns:a16="http://schemas.microsoft.com/office/drawing/2014/main" id="{018B0B2A-9699-06BE-ADE5-1138F3C9F479}"/>
              </a:ext>
            </a:extLst>
          </p:cNvPr>
          <p:cNvSpPr>
            <a:spLocks noGrp="1"/>
          </p:cNvSpPr>
          <p:nvPr>
            <p:ph type="body" sz="quarter" idx="61" hasCustomPrompt="1"/>
          </p:nvPr>
        </p:nvSpPr>
        <p:spPr>
          <a:xfrm>
            <a:off x="9266366" y="3740374"/>
            <a:ext cx="2195922" cy="184666"/>
          </a:xfrm>
          <a:prstGeom prst="rect">
            <a:avLst/>
          </a:prstGeom>
        </p:spPr>
        <p:txBody>
          <a:bodyPr vert="horz" wrap="square" lIns="0" tIns="0" rIns="0" bIns="0">
            <a:spAutoFit/>
          </a:bodyPr>
          <a:lstStyle>
            <a:lvl1pPr marL="0" indent="0">
              <a:buNone/>
              <a:defRPr sz="1200" b="1" baseline="0">
                <a:solidFill>
                  <a:schemeClr val="bg2"/>
                </a:solidFill>
                <a:latin typeface="Arial" pitchFamily="34" charset="0"/>
                <a:cs typeface="Arial" pitchFamily="34" charset="0"/>
              </a:defRPr>
            </a:lvl1pPr>
          </a:lstStyle>
          <a:p>
            <a:pPr lvl="0"/>
            <a:r>
              <a:rPr lang="en-GB" noProof="0" dirty="0"/>
              <a:t>Name</a:t>
            </a:r>
          </a:p>
        </p:txBody>
      </p:sp>
      <p:sp>
        <p:nvSpPr>
          <p:cNvPr id="131" name="CVMobileRight_6">
            <a:extLst>
              <a:ext uri="{FF2B5EF4-FFF2-40B4-BE49-F238E27FC236}">
                <a16:creationId xmlns:a16="http://schemas.microsoft.com/office/drawing/2014/main" id="{1D032902-FDFD-A9C1-F316-E3D4EB08B191}"/>
              </a:ext>
            </a:extLst>
          </p:cNvPr>
          <p:cNvSpPr>
            <a:spLocks noGrp="1"/>
          </p:cNvSpPr>
          <p:nvPr>
            <p:ph type="body" sz="quarter" idx="62" hasCustomPrompt="1"/>
          </p:nvPr>
        </p:nvSpPr>
        <p:spPr>
          <a:xfrm>
            <a:off x="9484014" y="4867161"/>
            <a:ext cx="1978273"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dirty="0"/>
              <a:t>Mobile phone number</a:t>
            </a:r>
          </a:p>
        </p:txBody>
      </p:sp>
      <p:sp>
        <p:nvSpPr>
          <p:cNvPr id="132" name="CVPictureRight_6">
            <a:extLst>
              <a:ext uri="{FF2B5EF4-FFF2-40B4-BE49-F238E27FC236}">
                <a16:creationId xmlns:a16="http://schemas.microsoft.com/office/drawing/2014/main" id="{193133B6-3D42-66B3-4C0A-415BE0474F4B}"/>
              </a:ext>
            </a:extLst>
          </p:cNvPr>
          <p:cNvSpPr>
            <a:spLocks noGrp="1"/>
          </p:cNvSpPr>
          <p:nvPr>
            <p:ph type="pic" sz="quarter" idx="63" hasCustomPrompt="1"/>
          </p:nvPr>
        </p:nvSpPr>
        <p:spPr>
          <a:xfrm>
            <a:off x="8150353" y="3613961"/>
            <a:ext cx="932375" cy="881519"/>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600" b="0" baseline="0">
                <a:solidFill>
                  <a:schemeClr val="bg1"/>
                </a:solidFill>
              </a:defRPr>
            </a:lvl1pPr>
          </a:lstStyle>
          <a:p>
            <a:r>
              <a:rPr lang="en-GB" dirty="0"/>
              <a:t>HOW TO ADD</a:t>
            </a:r>
            <a:br>
              <a:rPr lang="en-GB" dirty="0"/>
            </a:br>
            <a:r>
              <a:rPr lang="en-GB" dirty="0"/>
              <a:t>CV TEXT &amp; PHOTO?</a:t>
            </a:r>
            <a:br>
              <a:rPr lang="en-GB" dirty="0"/>
            </a:br>
            <a:r>
              <a:rPr lang="en-GB" dirty="0"/>
              <a:t>Select picture </a:t>
            </a:r>
            <a:br>
              <a:rPr lang="en-GB" dirty="0"/>
            </a:br>
            <a:br>
              <a:rPr lang="en-GB" dirty="0"/>
            </a:br>
            <a:br>
              <a:rPr lang="en-GB" dirty="0"/>
            </a:br>
            <a:r>
              <a:rPr lang="en-GB" dirty="0"/>
              <a:t>placeholder and go to Ribbon &gt; Loyens &amp; Loeff Tab &gt; Insert CV data button</a:t>
            </a:r>
          </a:p>
        </p:txBody>
      </p:sp>
      <p:sp>
        <p:nvSpPr>
          <p:cNvPr id="133" name="Rectangle 132">
            <a:extLst>
              <a:ext uri="{FF2B5EF4-FFF2-40B4-BE49-F238E27FC236}">
                <a16:creationId xmlns:a16="http://schemas.microsoft.com/office/drawing/2014/main" id="{99A27109-A02B-058A-A81C-DB422AC6F723}"/>
              </a:ext>
            </a:extLst>
          </p:cNvPr>
          <p:cNvSpPr/>
          <p:nvPr/>
        </p:nvSpPr>
        <p:spPr>
          <a:xfrm>
            <a:off x="9266365" y="3613960"/>
            <a:ext cx="2195922" cy="72000"/>
          </a:xfrm>
          <a:prstGeom prst="rect">
            <a:avLst/>
          </a:prstGeom>
          <a:gradFill flip="none" rotWithShape="1">
            <a:gsLst>
              <a:gs pos="0">
                <a:srgbClr val="0078B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NL" dirty="0" err="1">
              <a:solidFill>
                <a:schemeClr val="bg1"/>
              </a:solidFill>
            </a:endParaRPr>
          </a:p>
        </p:txBody>
      </p:sp>
      <p:sp>
        <p:nvSpPr>
          <p:cNvPr id="134" name="Tekstvak 33">
            <a:extLst>
              <a:ext uri="{FF2B5EF4-FFF2-40B4-BE49-F238E27FC236}">
                <a16:creationId xmlns:a16="http://schemas.microsoft.com/office/drawing/2014/main" id="{071DCADB-C894-323A-214A-5B423F3F4ACE}"/>
              </a:ext>
            </a:extLst>
          </p:cNvPr>
          <p:cNvSpPr txBox="1"/>
          <p:nvPr/>
        </p:nvSpPr>
        <p:spPr>
          <a:xfrm>
            <a:off x="9268424" y="4610748"/>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T:</a:t>
            </a:r>
          </a:p>
        </p:txBody>
      </p:sp>
      <p:sp>
        <p:nvSpPr>
          <p:cNvPr id="135" name="Tekstvak 35">
            <a:extLst>
              <a:ext uri="{FF2B5EF4-FFF2-40B4-BE49-F238E27FC236}">
                <a16:creationId xmlns:a16="http://schemas.microsoft.com/office/drawing/2014/main" id="{53C16108-722E-DFC8-BB53-4A2595B421BE}"/>
              </a:ext>
            </a:extLst>
          </p:cNvPr>
          <p:cNvSpPr txBox="1"/>
          <p:nvPr/>
        </p:nvSpPr>
        <p:spPr>
          <a:xfrm>
            <a:off x="9268424" y="5123573"/>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E:</a:t>
            </a:r>
          </a:p>
        </p:txBody>
      </p:sp>
      <p:sp>
        <p:nvSpPr>
          <p:cNvPr id="136" name="Tekstvak 34">
            <a:extLst>
              <a:ext uri="{FF2B5EF4-FFF2-40B4-BE49-F238E27FC236}">
                <a16:creationId xmlns:a16="http://schemas.microsoft.com/office/drawing/2014/main" id="{912D67BF-2BED-7783-4FC8-B5D7F3A495E1}"/>
              </a:ext>
            </a:extLst>
          </p:cNvPr>
          <p:cNvSpPr txBox="1"/>
          <p:nvPr/>
        </p:nvSpPr>
        <p:spPr>
          <a:xfrm>
            <a:off x="9268424" y="4867161"/>
            <a:ext cx="201617" cy="169277"/>
          </a:xfrm>
          <a:prstGeom prst="rect">
            <a:avLst/>
          </a:prstGeom>
          <a:noFill/>
        </p:spPr>
        <p:txBody>
          <a:bodyPr vert="horz" wrap="square" lIns="0" tIns="0" rIns="0" bIns="0" rtlCol="0">
            <a:spAutoFit/>
          </a:bodyPr>
          <a:lstStyle/>
          <a:p>
            <a:pPr>
              <a:lnSpc>
                <a:spcPct val="100000"/>
              </a:lnSpc>
              <a:spcBef>
                <a:spcPts val="0"/>
              </a:spcBef>
            </a:pPr>
            <a:r>
              <a:rPr lang="en-GB" sz="1100" dirty="0">
                <a:solidFill>
                  <a:schemeClr val="accent1"/>
                </a:solidFill>
                <a:latin typeface="+mn-lt"/>
              </a:rPr>
              <a:t>M:</a:t>
            </a:r>
          </a:p>
        </p:txBody>
      </p:sp>
      <p:sp>
        <p:nvSpPr>
          <p:cNvPr id="2" name="Titel 1"/>
          <p:cNvSpPr>
            <a:spLocks noGrp="1"/>
          </p:cNvSpPr>
          <p:nvPr>
            <p:ph type="title" hasCustomPrompt="1"/>
          </p:nvPr>
        </p:nvSpPr>
        <p:spPr/>
        <p:txBody>
          <a:bodyPr/>
          <a:lstStyle>
            <a:lvl1pPr>
              <a:defRPr/>
            </a:lvl1pPr>
          </a:lstStyle>
          <a:p>
            <a:r>
              <a:rPr lang="en-US" noProof="0" dirty="0"/>
              <a:t>Title contact slide - six persons</a:t>
            </a:r>
            <a:endParaRPr lang="en-GB" dirty="0"/>
          </a:p>
        </p:txBody>
      </p:sp>
    </p:spTree>
    <p:extLst>
      <p:ext uri="{BB962C8B-B14F-4D97-AF65-F5344CB8AC3E}">
        <p14:creationId xmlns:p14="http://schemas.microsoft.com/office/powerpoint/2010/main" val="220745221"/>
      </p:ext>
    </p:extLst>
  </p:cSld>
  <p:clrMapOvr>
    <a:masterClrMapping/>
  </p:clrMapOvr>
  <p:extLst>
    <p:ext uri="{DCECCB84-F9BA-43D5-87BE-67443E8EF086}">
      <p15:sldGuideLst xmlns:p15="http://schemas.microsoft.com/office/powerpoint/2012/main">
        <p15:guide id="8" pos="2547">
          <p15:clr>
            <a:srgbClr val="F26B43"/>
          </p15:clr>
        </p15:guide>
        <p15:guide id="9" orient="horz" pos="799">
          <p15:clr>
            <a:srgbClr val="F26B43"/>
          </p15:clr>
        </p15:guide>
        <p15:guide id="13" orient="horz" pos="3929">
          <p15:clr>
            <a:srgbClr val="F26B43"/>
          </p15:clr>
        </p15:guide>
        <p15:guide id="14" pos="1164">
          <p15:clr>
            <a:srgbClr val="FBAE40"/>
          </p15:clr>
        </p15:guide>
        <p15:guide id="15" pos="1050">
          <p15:clr>
            <a:srgbClr val="FBAE40"/>
          </p15:clr>
        </p15:guide>
        <p15:guide id="16" pos="461">
          <p15:clr>
            <a:srgbClr val="F26B43"/>
          </p15:clr>
        </p15:guide>
        <p15:guide id="17" pos="2797">
          <p15:clr>
            <a:srgbClr val="F26B43"/>
          </p15:clr>
        </p15:guide>
        <p15:guide id="18" pos="3386">
          <p15:clr>
            <a:srgbClr val="FBAE40"/>
          </p15:clr>
        </p15:guide>
        <p15:guide id="19" pos="3500">
          <p15:clr>
            <a:srgbClr val="FBAE40"/>
          </p15:clr>
        </p15:guide>
        <p15:guide id="20" pos="4883">
          <p15:clr>
            <a:srgbClr val="F26B43"/>
          </p15:clr>
        </p15:guide>
        <p15:guide id="21" pos="5133">
          <p15:clr>
            <a:srgbClr val="F26B43"/>
          </p15:clr>
        </p15:guide>
        <p15:guide id="22" pos="5722">
          <p15:clr>
            <a:srgbClr val="FBAE40"/>
          </p15:clr>
        </p15:guide>
        <p15:guide id="23" pos="5836">
          <p15:clr>
            <a:srgbClr val="FBAE40"/>
          </p15:clr>
        </p15:guide>
        <p15:guide id="24" pos="166">
          <p15:clr>
            <a:srgbClr val="FBAE40"/>
          </p15:clr>
        </p15:guide>
        <p15:guide id="25" orient="horz" pos="187">
          <p15:clr>
            <a:srgbClr val="FBAE40"/>
          </p15:clr>
        </p15:guide>
        <p15:guide id="26" orient="horz" pos="2273">
          <p15:clr>
            <a:srgbClr val="F26B43"/>
          </p15:clr>
        </p15:guide>
        <p15:guide id="27" pos="7219">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Disclaimer</a:t>
            </a:r>
            <a:endParaRPr lang="en-GB" dirty="0"/>
          </a:p>
        </p:txBody>
      </p:sp>
    </p:spTree>
    <p:extLst>
      <p:ext uri="{BB962C8B-B14F-4D97-AF65-F5344CB8AC3E}">
        <p14:creationId xmlns:p14="http://schemas.microsoft.com/office/powerpoint/2010/main" val="2351314814"/>
      </p:ext>
    </p:extLst>
  </p:cSld>
  <p:clrMapOvr>
    <a:masterClrMapping/>
  </p:clrMapOvr>
  <p:extLst>
    <p:ext uri="{DCECCB84-F9BA-43D5-87BE-67443E8EF086}">
      <p15:sldGuideLst xmlns:p15="http://schemas.microsoft.com/office/powerpoint/2012/main">
        <p15:guide id="1" orient="horz" pos="187">
          <p15:clr>
            <a:srgbClr val="FBAE40"/>
          </p15:clr>
        </p15:guide>
        <p15:guide id="3" pos="166">
          <p15:clr>
            <a:srgbClr val="FBAE40"/>
          </p15:clr>
        </p15:guide>
        <p15:guide id="4" pos="461">
          <p15:clr>
            <a:srgbClr val="FBAE40"/>
          </p15:clr>
        </p15:guide>
        <p15:guide id="5" orient="horz" pos="61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L Covershee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id="{43B51075-4902-98B8-46C7-2168D6E0FDA2}"/>
              </a:ext>
            </a:extLst>
          </p:cNvPr>
          <p:cNvSpPr>
            <a:spLocks noGrp="1"/>
          </p:cNvSpPr>
          <p:nvPr>
            <p:ph type="pic" sz="quarter" idx="13" hasCustomPrompt="1"/>
          </p:nvPr>
        </p:nvSpPr>
        <p:spPr>
          <a:xfrm>
            <a:off x="4138727" y="980919"/>
            <a:ext cx="7792847" cy="5620148"/>
          </a:xfrm>
          <a:custGeom>
            <a:avLst/>
            <a:gdLst>
              <a:gd name="connsiteX0" fmla="*/ 503284 w 7792847"/>
              <a:gd name="connsiteY0" fmla="*/ 0 h 5620148"/>
              <a:gd name="connsiteX1" fmla="*/ 7792847 w 7792847"/>
              <a:gd name="connsiteY1" fmla="*/ 0 h 5620148"/>
              <a:gd name="connsiteX2" fmla="*/ 7792847 w 7792847"/>
              <a:gd name="connsiteY2" fmla="*/ 38451 h 5620148"/>
              <a:gd name="connsiteX3" fmla="*/ 7792847 w 7792847"/>
              <a:gd name="connsiteY3" fmla="*/ 5581697 h 5620148"/>
              <a:gd name="connsiteX4" fmla="*/ 7792847 w 7792847"/>
              <a:gd name="connsiteY4" fmla="*/ 5620148 h 5620148"/>
              <a:gd name="connsiteX5" fmla="*/ 0 w 7792847"/>
              <a:gd name="connsiteY5" fmla="*/ 5620148 h 5620148"/>
              <a:gd name="connsiteX6" fmla="*/ 0 w 7792847"/>
              <a:gd name="connsiteY6" fmla="*/ 5581697 h 5620148"/>
              <a:gd name="connsiteX7" fmla="*/ 0 w 7792847"/>
              <a:gd name="connsiteY7" fmla="*/ 538855 h 5620148"/>
              <a:gd name="connsiteX8" fmla="*/ 0 w 7792847"/>
              <a:gd name="connsiteY8" fmla="*/ 500404 h 5620148"/>
              <a:gd name="connsiteX9" fmla="*/ 503284 w 7792847"/>
              <a:gd name="connsiteY9" fmla="*/ 0 h 56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2847" h="5620148">
                <a:moveTo>
                  <a:pt x="503284" y="0"/>
                </a:moveTo>
                <a:lnTo>
                  <a:pt x="7792847" y="0"/>
                </a:lnTo>
                <a:lnTo>
                  <a:pt x="7792847" y="38451"/>
                </a:lnTo>
                <a:lnTo>
                  <a:pt x="7792847" y="5581697"/>
                </a:lnTo>
                <a:lnTo>
                  <a:pt x="7792847" y="5620148"/>
                </a:lnTo>
                <a:lnTo>
                  <a:pt x="0" y="5620148"/>
                </a:lnTo>
                <a:lnTo>
                  <a:pt x="0" y="5581697"/>
                </a:lnTo>
                <a:lnTo>
                  <a:pt x="0" y="538855"/>
                </a:lnTo>
                <a:lnTo>
                  <a:pt x="0" y="500404"/>
                </a:lnTo>
                <a:cubicBezTo>
                  <a:pt x="355" y="224035"/>
                  <a:pt x="225533" y="139"/>
                  <a:pt x="503284" y="0"/>
                </a:cubicBezTo>
                <a:close/>
              </a:path>
            </a:pathLst>
          </a:custGeom>
          <a:solidFill>
            <a:schemeClr val="bg1">
              <a:lumMod val="75000"/>
            </a:schemeClr>
          </a:solidFill>
        </p:spPr>
        <p:txBody>
          <a:bodyPr wrap="square" lIns="2304000" tIns="1368000" rIns="2304000" bIns="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7" name="Freeform: Shape 36">
            <a:extLst>
              <a:ext uri="{FF2B5EF4-FFF2-40B4-BE49-F238E27FC236}">
                <a16:creationId xmlns:a16="http://schemas.microsoft.com/office/drawing/2014/main" id="{391A9510-5722-C883-E5EF-4AEB5DA23647}"/>
              </a:ext>
            </a:extLst>
          </p:cNvPr>
          <p:cNvSpPr/>
          <p:nvPr userDrawn="1"/>
        </p:nvSpPr>
        <p:spPr>
          <a:xfrm>
            <a:off x="263506" y="980997"/>
            <a:ext cx="3877301" cy="5620071"/>
          </a:xfrm>
          <a:custGeom>
            <a:avLst/>
            <a:gdLst>
              <a:gd name="connsiteX0" fmla="*/ 0 w 3877301"/>
              <a:gd name="connsiteY0" fmla="*/ 0 h 5620071"/>
              <a:gd name="connsiteX1" fmla="*/ 3374528 w 3877301"/>
              <a:gd name="connsiteY1" fmla="*/ 0 h 5620071"/>
              <a:gd name="connsiteX2" fmla="*/ 3877301 w 3877301"/>
              <a:gd name="connsiteY2" fmla="*/ 500404 h 5620071"/>
              <a:gd name="connsiteX3" fmla="*/ 3877301 w 3877301"/>
              <a:gd name="connsiteY3" fmla="*/ 538778 h 5620071"/>
              <a:gd name="connsiteX4" fmla="*/ 3877301 w 3877301"/>
              <a:gd name="connsiteY4" fmla="*/ 5581697 h 5620071"/>
              <a:gd name="connsiteX5" fmla="*/ 3877301 w 3877301"/>
              <a:gd name="connsiteY5" fmla="*/ 5620071 h 5620071"/>
              <a:gd name="connsiteX6" fmla="*/ 502646 w 3877301"/>
              <a:gd name="connsiteY6" fmla="*/ 5620071 h 5620071"/>
              <a:gd name="connsiteX7" fmla="*/ 0 w 3877301"/>
              <a:gd name="connsiteY7" fmla="*/ 5119036 h 5620071"/>
              <a:gd name="connsiteX8" fmla="*/ 0 w 3877301"/>
              <a:gd name="connsiteY8" fmla="*/ 5080662 h 5620071"/>
              <a:gd name="connsiteX9" fmla="*/ 0 w 3877301"/>
              <a:gd name="connsiteY9" fmla="*/ 38374 h 562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7301" h="5620071">
                <a:moveTo>
                  <a:pt x="0" y="0"/>
                </a:moveTo>
                <a:lnTo>
                  <a:pt x="3374528" y="0"/>
                </a:lnTo>
                <a:cubicBezTo>
                  <a:pt x="3651965" y="-140"/>
                  <a:pt x="3877022" y="223859"/>
                  <a:pt x="3877301" y="500404"/>
                </a:cubicBezTo>
                <a:lnTo>
                  <a:pt x="3877301" y="538778"/>
                </a:lnTo>
                <a:lnTo>
                  <a:pt x="3877301" y="5581697"/>
                </a:lnTo>
                <a:lnTo>
                  <a:pt x="3877301" y="5620071"/>
                </a:lnTo>
                <a:lnTo>
                  <a:pt x="502646" y="5620071"/>
                </a:lnTo>
                <a:cubicBezTo>
                  <a:pt x="225042" y="5620071"/>
                  <a:pt x="0" y="5395748"/>
                  <a:pt x="0" y="5119036"/>
                </a:cubicBezTo>
                <a:lnTo>
                  <a:pt x="0" y="5080662"/>
                </a:lnTo>
                <a:lnTo>
                  <a:pt x="0" y="38374"/>
                </a:lnTo>
                <a:close/>
              </a:path>
            </a:pathLst>
          </a:custGeom>
          <a:gradFill>
            <a:gsLst>
              <a:gs pos="0">
                <a:srgbClr val="0078B6"/>
              </a:gs>
              <a:gs pos="100000">
                <a:schemeClr val="bg2"/>
              </a:gs>
            </a:gsLst>
            <a:lin ang="5400000" scaled="1"/>
          </a:gradFill>
          <a:ln w="12638" cap="flat">
            <a:noFill/>
            <a:prstDash val="solid"/>
            <a:miter/>
          </a:ln>
        </p:spPr>
        <p:txBody>
          <a:bodyPr rtlCol="0" anchor="ctr"/>
          <a:lstStyle/>
          <a:p>
            <a:endParaRPr lang="en-GB" dirty="0"/>
          </a:p>
        </p:txBody>
      </p:sp>
      <p:sp>
        <p:nvSpPr>
          <p:cNvPr id="3" name="Ondertitel 2"/>
          <p:cNvSpPr>
            <a:spLocks noGrp="1"/>
          </p:cNvSpPr>
          <p:nvPr>
            <p:ph type="subTitle" idx="1" hasCustomPrompt="1"/>
          </p:nvPr>
        </p:nvSpPr>
        <p:spPr>
          <a:xfrm>
            <a:off x="730675" y="3156632"/>
            <a:ext cx="3169081" cy="215444"/>
          </a:xfrm>
          <a:prstGeom prst="rect">
            <a:avLst/>
          </a:prstGeom>
        </p:spPr>
        <p:txBody>
          <a:bodyPr wrap="square" anchor="t" anchorCtr="0">
            <a:spAutoFit/>
          </a:bodyPr>
          <a:lstStyle>
            <a:lvl1pPr marL="0" indent="0" algn="l">
              <a:lnSpc>
                <a:spcPct val="100000"/>
              </a:lnSpc>
              <a:spcBef>
                <a:spcPts val="0"/>
              </a:spcBef>
              <a:buNone/>
              <a:defRPr sz="1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Sub title style</a:t>
            </a:r>
            <a:endParaRPr lang="en-GB" dirty="0"/>
          </a:p>
        </p:txBody>
      </p:sp>
      <p:sp>
        <p:nvSpPr>
          <p:cNvPr id="33" name="Text Placeholder 32"/>
          <p:cNvSpPr>
            <a:spLocks noGrp="1"/>
          </p:cNvSpPr>
          <p:nvPr>
            <p:ph type="body" sz="quarter" idx="14" hasCustomPrompt="1"/>
          </p:nvPr>
        </p:nvSpPr>
        <p:spPr>
          <a:xfrm>
            <a:off x="730675" y="5506082"/>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a:t>Name </a:t>
            </a:r>
            <a:r>
              <a:rPr lang="en-GB" dirty="0" err="1"/>
              <a:t>presentor</a:t>
            </a:r>
            <a:r>
              <a:rPr lang="en-GB" dirty="0"/>
              <a:t>(s)</a:t>
            </a:r>
          </a:p>
        </p:txBody>
      </p:sp>
      <p:grpSp>
        <p:nvGrpSpPr>
          <p:cNvPr id="10" name="Group 9">
            <a:extLst>
              <a:ext uri="{FF2B5EF4-FFF2-40B4-BE49-F238E27FC236}">
                <a16:creationId xmlns:a16="http://schemas.microsoft.com/office/drawing/2014/main" id="{DD0F3853-5A1D-DAC4-3918-11AC27A1A23D}"/>
              </a:ext>
            </a:extLst>
          </p:cNvPr>
          <p:cNvGrpSpPr/>
          <p:nvPr userDrawn="1"/>
        </p:nvGrpSpPr>
        <p:grpSpPr>
          <a:xfrm>
            <a:off x="740197" y="277699"/>
            <a:ext cx="2003339" cy="504460"/>
            <a:chOff x="756000" y="277699"/>
            <a:chExt cx="2003339" cy="504460"/>
          </a:xfrm>
        </p:grpSpPr>
        <p:grpSp>
          <p:nvGrpSpPr>
            <p:cNvPr id="11" name="Graphic 3">
              <a:extLst>
                <a:ext uri="{FF2B5EF4-FFF2-40B4-BE49-F238E27FC236}">
                  <a16:creationId xmlns:a16="http://schemas.microsoft.com/office/drawing/2014/main" id="{5A939B7B-93C4-1864-4488-C70AF692FABC}"/>
                </a:ext>
              </a:extLst>
            </p:cNvPr>
            <p:cNvGrpSpPr/>
            <p:nvPr/>
          </p:nvGrpSpPr>
          <p:grpSpPr>
            <a:xfrm>
              <a:off x="756000" y="277699"/>
              <a:ext cx="2003339" cy="317260"/>
              <a:chOff x="756000" y="277699"/>
              <a:chExt cx="2003339" cy="317260"/>
            </a:xfrm>
            <a:solidFill>
              <a:srgbClr val="06357A"/>
            </a:solidFill>
          </p:grpSpPr>
          <p:sp>
            <p:nvSpPr>
              <p:cNvPr id="20" name="Freeform: Shape 19">
                <a:extLst>
                  <a:ext uri="{FF2B5EF4-FFF2-40B4-BE49-F238E27FC236}">
                    <a16:creationId xmlns:a16="http://schemas.microsoft.com/office/drawing/2014/main" id="{CD918745-4D52-E465-CB0D-F7E8B6BE9552}"/>
                  </a:ext>
                </a:extLst>
              </p:cNvPr>
              <p:cNvSpPr/>
              <p:nvPr/>
            </p:nvSpPr>
            <p:spPr>
              <a:xfrm>
                <a:off x="1749419" y="277699"/>
                <a:ext cx="204419" cy="317260"/>
              </a:xfrm>
              <a:custGeom>
                <a:avLst/>
                <a:gdLst>
                  <a:gd name="connsiteX0" fmla="*/ 182820 w 204419"/>
                  <a:gd name="connsiteY0" fmla="*/ 300101 h 317260"/>
                  <a:gd name="connsiteX1" fmla="*/ 69060 w 204419"/>
                  <a:gd name="connsiteY1" fmla="*/ 300101 h 317260"/>
                  <a:gd name="connsiteX2" fmla="*/ 69300 w 204419"/>
                  <a:gd name="connsiteY2" fmla="*/ 297761 h 317260"/>
                  <a:gd name="connsiteX3" fmla="*/ 85740 w 204419"/>
                  <a:gd name="connsiteY3" fmla="*/ 195461 h 317260"/>
                  <a:gd name="connsiteX4" fmla="*/ 102840 w 204419"/>
                  <a:gd name="connsiteY4" fmla="*/ 176141 h 317260"/>
                  <a:gd name="connsiteX5" fmla="*/ 85560 w 204419"/>
                  <a:gd name="connsiteY5" fmla="*/ 285401 h 317260"/>
                  <a:gd name="connsiteX6" fmla="*/ 85440 w 204419"/>
                  <a:gd name="connsiteY6" fmla="*/ 286541 h 317260"/>
                  <a:gd name="connsiteX7" fmla="*/ 93960 w 204419"/>
                  <a:gd name="connsiteY7" fmla="*/ 286541 h 317260"/>
                  <a:gd name="connsiteX8" fmla="*/ 93960 w 204419"/>
                  <a:gd name="connsiteY8" fmla="*/ 286721 h 317260"/>
                  <a:gd name="connsiteX9" fmla="*/ 184620 w 204419"/>
                  <a:gd name="connsiteY9" fmla="*/ 286721 h 317260"/>
                  <a:gd name="connsiteX10" fmla="*/ 182820 w 204419"/>
                  <a:gd name="connsiteY10" fmla="*/ 300101 h 317260"/>
                  <a:gd name="connsiteX11" fmla="*/ 136920 w 204419"/>
                  <a:gd name="connsiteY11" fmla="*/ 66101 h 317260"/>
                  <a:gd name="connsiteX12" fmla="*/ 138060 w 204419"/>
                  <a:gd name="connsiteY12" fmla="*/ 61601 h 317260"/>
                  <a:gd name="connsiteX13" fmla="*/ 172980 w 204419"/>
                  <a:gd name="connsiteY13" fmla="*/ 5501 h 317260"/>
                  <a:gd name="connsiteX14" fmla="*/ 190140 w 204419"/>
                  <a:gd name="connsiteY14" fmla="*/ 12581 h 317260"/>
                  <a:gd name="connsiteX15" fmla="*/ 129360 w 204419"/>
                  <a:gd name="connsiteY15" fmla="*/ 135101 h 317260"/>
                  <a:gd name="connsiteX16" fmla="*/ 124920 w 204419"/>
                  <a:gd name="connsiteY16" fmla="*/ 139421 h 317260"/>
                  <a:gd name="connsiteX17" fmla="*/ 136920 w 204419"/>
                  <a:gd name="connsiteY17" fmla="*/ 66101 h 317260"/>
                  <a:gd name="connsiteX18" fmla="*/ 104880 w 204419"/>
                  <a:gd name="connsiteY18" fmla="*/ 269501 h 317260"/>
                  <a:gd name="connsiteX19" fmla="*/ 123420 w 204419"/>
                  <a:gd name="connsiteY19" fmla="*/ 152861 h 317260"/>
                  <a:gd name="connsiteX20" fmla="*/ 130020 w 204419"/>
                  <a:gd name="connsiteY20" fmla="*/ 145061 h 317260"/>
                  <a:gd name="connsiteX21" fmla="*/ 193860 w 204419"/>
                  <a:gd name="connsiteY21" fmla="*/ 11201 h 317260"/>
                  <a:gd name="connsiteX22" fmla="*/ 171000 w 204419"/>
                  <a:gd name="connsiteY22" fmla="*/ 2141 h 317260"/>
                  <a:gd name="connsiteX23" fmla="*/ 130800 w 204419"/>
                  <a:gd name="connsiteY23" fmla="*/ 51461 h 317260"/>
                  <a:gd name="connsiteX24" fmla="*/ 127620 w 204419"/>
                  <a:gd name="connsiteY24" fmla="*/ 59141 h 317260"/>
                  <a:gd name="connsiteX25" fmla="*/ 106860 w 204419"/>
                  <a:gd name="connsiteY25" fmla="*/ 150341 h 317260"/>
                  <a:gd name="connsiteX26" fmla="*/ 105900 w 204419"/>
                  <a:gd name="connsiteY26" fmla="*/ 156281 h 317260"/>
                  <a:gd name="connsiteX27" fmla="*/ 88980 w 204419"/>
                  <a:gd name="connsiteY27" fmla="*/ 175361 h 317260"/>
                  <a:gd name="connsiteX28" fmla="*/ 103140 w 204419"/>
                  <a:gd name="connsiteY28" fmla="*/ 87341 h 317260"/>
                  <a:gd name="connsiteX29" fmla="*/ 69180 w 204419"/>
                  <a:gd name="connsiteY29" fmla="*/ 87341 h 317260"/>
                  <a:gd name="connsiteX30" fmla="*/ 68400 w 204419"/>
                  <a:gd name="connsiteY30" fmla="*/ 91181 h 317260"/>
                  <a:gd name="connsiteX31" fmla="*/ 79320 w 204419"/>
                  <a:gd name="connsiteY31" fmla="*/ 91541 h 317260"/>
                  <a:gd name="connsiteX32" fmla="*/ 84300 w 204419"/>
                  <a:gd name="connsiteY32" fmla="*/ 95861 h 317260"/>
                  <a:gd name="connsiteX33" fmla="*/ 84240 w 204419"/>
                  <a:gd name="connsiteY33" fmla="*/ 98441 h 317260"/>
                  <a:gd name="connsiteX34" fmla="*/ 68100 w 204419"/>
                  <a:gd name="connsiteY34" fmla="*/ 198821 h 317260"/>
                  <a:gd name="connsiteX35" fmla="*/ 3360 w 204419"/>
                  <a:gd name="connsiteY35" fmla="*/ 272021 h 317260"/>
                  <a:gd name="connsiteX36" fmla="*/ 0 w 204419"/>
                  <a:gd name="connsiteY36" fmla="*/ 292241 h 317260"/>
                  <a:gd name="connsiteX37" fmla="*/ 64920 w 204419"/>
                  <a:gd name="connsiteY37" fmla="*/ 218921 h 317260"/>
                  <a:gd name="connsiteX38" fmla="*/ 49080 w 204419"/>
                  <a:gd name="connsiteY38" fmla="*/ 317201 h 317260"/>
                  <a:gd name="connsiteX39" fmla="*/ 197880 w 204419"/>
                  <a:gd name="connsiteY39" fmla="*/ 317261 h 317260"/>
                  <a:gd name="connsiteX40" fmla="*/ 204420 w 204419"/>
                  <a:gd name="connsiteY40" fmla="*/ 269441 h 317260"/>
                  <a:gd name="connsiteX41" fmla="*/ 104880 w 204419"/>
                  <a:gd name="connsiteY41" fmla="*/ 269441 h 3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4419" h="317260">
                    <a:moveTo>
                      <a:pt x="182820" y="300101"/>
                    </a:moveTo>
                    <a:lnTo>
                      <a:pt x="69060" y="300101"/>
                    </a:lnTo>
                    <a:cubicBezTo>
                      <a:pt x="69060" y="299741"/>
                      <a:pt x="69420" y="297761"/>
                      <a:pt x="69300" y="297761"/>
                    </a:cubicBezTo>
                    <a:lnTo>
                      <a:pt x="85740" y="195461"/>
                    </a:lnTo>
                    <a:lnTo>
                      <a:pt x="102840" y="176141"/>
                    </a:lnTo>
                    <a:lnTo>
                      <a:pt x="85560" y="285401"/>
                    </a:lnTo>
                    <a:cubicBezTo>
                      <a:pt x="85500" y="285701"/>
                      <a:pt x="85500" y="286181"/>
                      <a:pt x="85440" y="286541"/>
                    </a:cubicBezTo>
                    <a:lnTo>
                      <a:pt x="93960" y="286541"/>
                    </a:lnTo>
                    <a:lnTo>
                      <a:pt x="93960" y="286721"/>
                    </a:lnTo>
                    <a:lnTo>
                      <a:pt x="184620" y="286721"/>
                    </a:lnTo>
                    <a:lnTo>
                      <a:pt x="182820" y="300101"/>
                    </a:lnTo>
                    <a:close/>
                    <a:moveTo>
                      <a:pt x="136920" y="66101"/>
                    </a:moveTo>
                    <a:lnTo>
                      <a:pt x="138060" y="61601"/>
                    </a:lnTo>
                    <a:cubicBezTo>
                      <a:pt x="141420" y="46361"/>
                      <a:pt x="156900" y="12401"/>
                      <a:pt x="172980" y="5501"/>
                    </a:cubicBezTo>
                    <a:cubicBezTo>
                      <a:pt x="181020" y="2021"/>
                      <a:pt x="186420" y="3881"/>
                      <a:pt x="190140" y="12581"/>
                    </a:cubicBezTo>
                    <a:cubicBezTo>
                      <a:pt x="200700" y="37001"/>
                      <a:pt x="171540" y="94001"/>
                      <a:pt x="129360" y="135101"/>
                    </a:cubicBezTo>
                    <a:cubicBezTo>
                      <a:pt x="128940" y="135701"/>
                      <a:pt x="124920" y="139961"/>
                      <a:pt x="124920" y="139421"/>
                    </a:cubicBezTo>
                    <a:cubicBezTo>
                      <a:pt x="128580" y="118481"/>
                      <a:pt x="131580" y="90101"/>
                      <a:pt x="136920" y="66101"/>
                    </a:cubicBezTo>
                    <a:moveTo>
                      <a:pt x="104880" y="269501"/>
                    </a:moveTo>
                    <a:lnTo>
                      <a:pt x="123420" y="152861"/>
                    </a:lnTo>
                    <a:cubicBezTo>
                      <a:pt x="123420" y="152861"/>
                      <a:pt x="128880" y="146201"/>
                      <a:pt x="130020" y="145061"/>
                    </a:cubicBezTo>
                    <a:cubicBezTo>
                      <a:pt x="169020" y="104561"/>
                      <a:pt x="207540" y="42701"/>
                      <a:pt x="193860" y="11201"/>
                    </a:cubicBezTo>
                    <a:cubicBezTo>
                      <a:pt x="189300" y="581"/>
                      <a:pt x="181920" y="-2599"/>
                      <a:pt x="171000" y="2141"/>
                    </a:cubicBezTo>
                    <a:cubicBezTo>
                      <a:pt x="153000" y="9941"/>
                      <a:pt x="136980" y="35501"/>
                      <a:pt x="130800" y="51461"/>
                    </a:cubicBezTo>
                    <a:cubicBezTo>
                      <a:pt x="131100" y="50621"/>
                      <a:pt x="129180" y="55361"/>
                      <a:pt x="127620" y="59141"/>
                    </a:cubicBezTo>
                    <a:cubicBezTo>
                      <a:pt x="115860" y="88301"/>
                      <a:pt x="112260" y="120521"/>
                      <a:pt x="106860" y="150341"/>
                    </a:cubicBezTo>
                    <a:cubicBezTo>
                      <a:pt x="106500" y="152501"/>
                      <a:pt x="106200" y="154421"/>
                      <a:pt x="105900" y="156281"/>
                    </a:cubicBezTo>
                    <a:lnTo>
                      <a:pt x="88980" y="175361"/>
                    </a:lnTo>
                    <a:lnTo>
                      <a:pt x="103140" y="87341"/>
                    </a:lnTo>
                    <a:lnTo>
                      <a:pt x="69180" y="87341"/>
                    </a:lnTo>
                    <a:lnTo>
                      <a:pt x="68400" y="91181"/>
                    </a:lnTo>
                    <a:cubicBezTo>
                      <a:pt x="68400" y="91181"/>
                      <a:pt x="74700" y="91001"/>
                      <a:pt x="79320" y="91541"/>
                    </a:cubicBezTo>
                    <a:cubicBezTo>
                      <a:pt x="82920" y="91961"/>
                      <a:pt x="84000" y="94721"/>
                      <a:pt x="84300" y="95861"/>
                    </a:cubicBezTo>
                    <a:cubicBezTo>
                      <a:pt x="84540" y="96701"/>
                      <a:pt x="84240" y="98441"/>
                      <a:pt x="84240" y="98441"/>
                    </a:cubicBezTo>
                    <a:lnTo>
                      <a:pt x="68100" y="198821"/>
                    </a:lnTo>
                    <a:lnTo>
                      <a:pt x="3360" y="272021"/>
                    </a:lnTo>
                    <a:lnTo>
                      <a:pt x="0" y="292241"/>
                    </a:lnTo>
                    <a:lnTo>
                      <a:pt x="64920" y="218921"/>
                    </a:lnTo>
                    <a:lnTo>
                      <a:pt x="49080" y="317201"/>
                    </a:lnTo>
                    <a:lnTo>
                      <a:pt x="197880" y="317261"/>
                    </a:lnTo>
                    <a:lnTo>
                      <a:pt x="204420" y="269441"/>
                    </a:lnTo>
                    <a:lnTo>
                      <a:pt x="104880" y="269441"/>
                    </a:lnTo>
                    <a:close/>
                  </a:path>
                </a:pathLst>
              </a:custGeom>
              <a:solidFill>
                <a:srgbClr val="06357A"/>
              </a:solidFill>
              <a:ln w="5989"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0C67B687-C3C4-2FE7-F350-D9FA9EEE522D}"/>
                  </a:ext>
                </a:extLst>
              </p:cNvPr>
              <p:cNvSpPr/>
              <p:nvPr/>
            </p:nvSpPr>
            <p:spPr>
              <a:xfrm>
                <a:off x="2018519" y="400019"/>
                <a:ext cx="101459" cy="160679"/>
              </a:xfrm>
              <a:custGeom>
                <a:avLst/>
                <a:gdLst>
                  <a:gd name="connsiteX0" fmla="*/ 0 w 101459"/>
                  <a:gd name="connsiteY0" fmla="*/ 160680 h 160679"/>
                  <a:gd name="connsiteX1" fmla="*/ 0 w 101459"/>
                  <a:gd name="connsiteY1" fmla="*/ 0 h 160679"/>
                  <a:gd name="connsiteX2" fmla="*/ 25500 w 101459"/>
                  <a:gd name="connsiteY2" fmla="*/ 0 h 160679"/>
                  <a:gd name="connsiteX3" fmla="*/ 25500 w 101459"/>
                  <a:gd name="connsiteY3" fmla="*/ 139500 h 160679"/>
                  <a:gd name="connsiteX4" fmla="*/ 101460 w 101459"/>
                  <a:gd name="connsiteY4" fmla="*/ 139500 h 160679"/>
                  <a:gd name="connsiteX5" fmla="*/ 101460 w 101459"/>
                  <a:gd name="connsiteY5"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59" h="160679">
                    <a:moveTo>
                      <a:pt x="0" y="160680"/>
                    </a:moveTo>
                    <a:lnTo>
                      <a:pt x="0" y="0"/>
                    </a:lnTo>
                    <a:lnTo>
                      <a:pt x="25500" y="0"/>
                    </a:lnTo>
                    <a:lnTo>
                      <a:pt x="25500" y="139500"/>
                    </a:lnTo>
                    <a:lnTo>
                      <a:pt x="101460" y="139500"/>
                    </a:lnTo>
                    <a:lnTo>
                      <a:pt x="101460" y="160680"/>
                    </a:lnTo>
                    <a:close/>
                  </a:path>
                </a:pathLst>
              </a:custGeom>
              <a:solidFill>
                <a:srgbClr val="06357A"/>
              </a:solidFill>
              <a:ln w="5989"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C595ECAC-AB77-752E-F059-5043FD6EA5F5}"/>
                  </a:ext>
                </a:extLst>
              </p:cNvPr>
              <p:cNvSpPr/>
              <p:nvPr/>
            </p:nvSpPr>
            <p:spPr>
              <a:xfrm>
                <a:off x="213575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2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44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1573FD05-D334-74F3-38ED-95BF84BAEF63}"/>
                  </a:ext>
                </a:extLst>
              </p:cNvPr>
              <p:cNvSpPr/>
              <p:nvPr/>
            </p:nvSpPr>
            <p:spPr>
              <a:xfrm>
                <a:off x="2363039" y="400019"/>
                <a:ext cx="101520" cy="160679"/>
              </a:xfrm>
              <a:custGeom>
                <a:avLst/>
                <a:gdLst>
                  <a:gd name="connsiteX0" fmla="*/ 0 w 101520"/>
                  <a:gd name="connsiteY0" fmla="*/ 160680 h 160679"/>
                  <a:gd name="connsiteX1" fmla="*/ 0 w 101520"/>
                  <a:gd name="connsiteY1" fmla="*/ 0 h 160679"/>
                  <a:gd name="connsiteX2" fmla="*/ 99480 w 101520"/>
                  <a:gd name="connsiteY2" fmla="*/ 0 h 160679"/>
                  <a:gd name="connsiteX3" fmla="*/ 99480 w 101520"/>
                  <a:gd name="connsiteY3" fmla="*/ 21180 h 160679"/>
                  <a:gd name="connsiteX4" fmla="*/ 25560 w 101520"/>
                  <a:gd name="connsiteY4" fmla="*/ 21180 h 160679"/>
                  <a:gd name="connsiteX5" fmla="*/ 25560 w 101520"/>
                  <a:gd name="connsiteY5" fmla="*/ 67560 h 160679"/>
                  <a:gd name="connsiteX6" fmla="*/ 86700 w 101520"/>
                  <a:gd name="connsiteY6" fmla="*/ 67560 h 160679"/>
                  <a:gd name="connsiteX7" fmla="*/ 86700 w 101520"/>
                  <a:gd name="connsiteY7" fmla="*/ 88740 h 160679"/>
                  <a:gd name="connsiteX8" fmla="*/ 25560 w 101520"/>
                  <a:gd name="connsiteY8" fmla="*/ 88740 h 160679"/>
                  <a:gd name="connsiteX9" fmla="*/ 25560 w 101520"/>
                  <a:gd name="connsiteY9" fmla="*/ 139500 h 160679"/>
                  <a:gd name="connsiteX10" fmla="*/ 101520 w 101520"/>
                  <a:gd name="connsiteY10" fmla="*/ 139500 h 160679"/>
                  <a:gd name="connsiteX11" fmla="*/ 101520 w 101520"/>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20" h="160679">
                    <a:moveTo>
                      <a:pt x="0" y="160680"/>
                    </a:moveTo>
                    <a:lnTo>
                      <a:pt x="0" y="0"/>
                    </a:lnTo>
                    <a:lnTo>
                      <a:pt x="99480" y="0"/>
                    </a:lnTo>
                    <a:lnTo>
                      <a:pt x="99480" y="21180"/>
                    </a:lnTo>
                    <a:lnTo>
                      <a:pt x="25560" y="21180"/>
                    </a:lnTo>
                    <a:lnTo>
                      <a:pt x="25560" y="67560"/>
                    </a:lnTo>
                    <a:lnTo>
                      <a:pt x="86700" y="67560"/>
                    </a:lnTo>
                    <a:lnTo>
                      <a:pt x="8670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69898778-BF5F-7934-E79E-45A6221CB45A}"/>
                  </a:ext>
                </a:extLst>
              </p:cNvPr>
              <p:cNvSpPr/>
              <p:nvPr/>
            </p:nvSpPr>
            <p:spPr>
              <a:xfrm>
                <a:off x="2513939" y="400019"/>
                <a:ext cx="99539" cy="160679"/>
              </a:xfrm>
              <a:custGeom>
                <a:avLst/>
                <a:gdLst>
                  <a:gd name="connsiteX0" fmla="*/ 25560 w 99539"/>
                  <a:gd name="connsiteY0" fmla="*/ 21180 h 160679"/>
                  <a:gd name="connsiteX1" fmla="*/ 25560 w 99539"/>
                  <a:gd name="connsiteY1" fmla="*/ 69900 h 160679"/>
                  <a:gd name="connsiteX2" fmla="*/ 86760 w 99539"/>
                  <a:gd name="connsiteY2" fmla="*/ 69900 h 160679"/>
                  <a:gd name="connsiteX3" fmla="*/ 86760 w 99539"/>
                  <a:gd name="connsiteY3" fmla="*/ 91080 h 160679"/>
                  <a:gd name="connsiteX4" fmla="*/ 25560 w 99539"/>
                  <a:gd name="connsiteY4" fmla="*/ 91080 h 160679"/>
                  <a:gd name="connsiteX5" fmla="*/ 25560 w 99539"/>
                  <a:gd name="connsiteY5" fmla="*/ 160680 h 160679"/>
                  <a:gd name="connsiteX6" fmla="*/ 0 w 99539"/>
                  <a:gd name="connsiteY6" fmla="*/ 160680 h 160679"/>
                  <a:gd name="connsiteX7" fmla="*/ 0 w 99539"/>
                  <a:gd name="connsiteY7" fmla="*/ 0 h 160679"/>
                  <a:gd name="connsiteX8" fmla="*/ 99540 w 99539"/>
                  <a:gd name="connsiteY8" fmla="*/ 0 h 160679"/>
                  <a:gd name="connsiteX9" fmla="*/ 99540 w 99539"/>
                  <a:gd name="connsiteY9" fmla="*/ 211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9" h="160679">
                    <a:moveTo>
                      <a:pt x="25560" y="21180"/>
                    </a:moveTo>
                    <a:lnTo>
                      <a:pt x="25560" y="69900"/>
                    </a:lnTo>
                    <a:lnTo>
                      <a:pt x="86760" y="69900"/>
                    </a:lnTo>
                    <a:lnTo>
                      <a:pt x="86760" y="91080"/>
                    </a:lnTo>
                    <a:lnTo>
                      <a:pt x="25560" y="91080"/>
                    </a:lnTo>
                    <a:lnTo>
                      <a:pt x="25560" y="160680"/>
                    </a:lnTo>
                    <a:lnTo>
                      <a:pt x="0" y="160680"/>
                    </a:lnTo>
                    <a:lnTo>
                      <a:pt x="0" y="0"/>
                    </a:lnTo>
                    <a:lnTo>
                      <a:pt x="99540" y="0"/>
                    </a:lnTo>
                    <a:lnTo>
                      <a:pt x="99540" y="21180"/>
                    </a:lnTo>
                    <a:close/>
                  </a:path>
                </a:pathLst>
              </a:custGeom>
              <a:solidFill>
                <a:srgbClr val="06357A"/>
              </a:solidFill>
              <a:ln w="5989"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56E00579-020E-A2C6-625B-A3E70C239C13}"/>
                  </a:ext>
                </a:extLst>
              </p:cNvPr>
              <p:cNvSpPr/>
              <p:nvPr/>
            </p:nvSpPr>
            <p:spPr>
              <a:xfrm>
                <a:off x="2659859" y="400019"/>
                <a:ext cx="99480" cy="160679"/>
              </a:xfrm>
              <a:custGeom>
                <a:avLst/>
                <a:gdLst>
                  <a:gd name="connsiteX0" fmla="*/ 0 w 99480"/>
                  <a:gd name="connsiteY0" fmla="*/ 0 h 160679"/>
                  <a:gd name="connsiteX1" fmla="*/ 0 w 99480"/>
                  <a:gd name="connsiteY1" fmla="*/ 160680 h 160679"/>
                  <a:gd name="connsiteX2" fmla="*/ 25560 w 99480"/>
                  <a:gd name="connsiteY2" fmla="*/ 160680 h 160679"/>
                  <a:gd name="connsiteX3" fmla="*/ 25560 w 99480"/>
                  <a:gd name="connsiteY3" fmla="*/ 91080 h 160679"/>
                  <a:gd name="connsiteX4" fmla="*/ 86700 w 99480"/>
                  <a:gd name="connsiteY4" fmla="*/ 91080 h 160679"/>
                  <a:gd name="connsiteX5" fmla="*/ 86700 w 99480"/>
                  <a:gd name="connsiteY5" fmla="*/ 69900 h 160679"/>
                  <a:gd name="connsiteX6" fmla="*/ 25560 w 99480"/>
                  <a:gd name="connsiteY6" fmla="*/ 69900 h 160679"/>
                  <a:gd name="connsiteX7" fmla="*/ 25560 w 99480"/>
                  <a:gd name="connsiteY7" fmla="*/ 21180 h 160679"/>
                  <a:gd name="connsiteX8" fmla="*/ 99480 w 99480"/>
                  <a:gd name="connsiteY8" fmla="*/ 21180 h 160679"/>
                  <a:gd name="connsiteX9" fmla="*/ 99480 w 99480"/>
                  <a:gd name="connsiteY9"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0" h="160679">
                    <a:moveTo>
                      <a:pt x="0" y="0"/>
                    </a:moveTo>
                    <a:lnTo>
                      <a:pt x="0" y="160680"/>
                    </a:lnTo>
                    <a:lnTo>
                      <a:pt x="25560" y="160680"/>
                    </a:lnTo>
                    <a:lnTo>
                      <a:pt x="25560" y="91080"/>
                    </a:lnTo>
                    <a:lnTo>
                      <a:pt x="86700" y="91080"/>
                    </a:lnTo>
                    <a:lnTo>
                      <a:pt x="86700" y="69900"/>
                    </a:lnTo>
                    <a:lnTo>
                      <a:pt x="25560" y="69900"/>
                    </a:lnTo>
                    <a:lnTo>
                      <a:pt x="25560" y="21180"/>
                    </a:lnTo>
                    <a:lnTo>
                      <a:pt x="99480" y="21180"/>
                    </a:lnTo>
                    <a:lnTo>
                      <a:pt x="99480" y="0"/>
                    </a:lnTo>
                    <a:close/>
                  </a:path>
                </a:pathLst>
              </a:custGeom>
              <a:solidFill>
                <a:srgbClr val="06357A"/>
              </a:solidFill>
              <a:ln w="59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10212525-01E8-B272-F017-CBCFF915FFCB}"/>
                  </a:ext>
                </a:extLst>
              </p:cNvPr>
              <p:cNvSpPr/>
              <p:nvPr/>
            </p:nvSpPr>
            <p:spPr>
              <a:xfrm>
                <a:off x="756000" y="400019"/>
                <a:ext cx="101519" cy="160679"/>
              </a:xfrm>
              <a:custGeom>
                <a:avLst/>
                <a:gdLst>
                  <a:gd name="connsiteX0" fmla="*/ 0 w 101519"/>
                  <a:gd name="connsiteY0" fmla="*/ 0 h 160679"/>
                  <a:gd name="connsiteX1" fmla="*/ 0 w 101519"/>
                  <a:gd name="connsiteY1" fmla="*/ 160680 h 160679"/>
                  <a:gd name="connsiteX2" fmla="*/ 101520 w 101519"/>
                  <a:gd name="connsiteY2" fmla="*/ 160680 h 160679"/>
                  <a:gd name="connsiteX3" fmla="*/ 101520 w 101519"/>
                  <a:gd name="connsiteY3" fmla="*/ 139500 h 160679"/>
                  <a:gd name="connsiteX4" fmla="*/ 25560 w 101519"/>
                  <a:gd name="connsiteY4" fmla="*/ 139500 h 160679"/>
                  <a:gd name="connsiteX5" fmla="*/ 25560 w 101519"/>
                  <a:gd name="connsiteY5"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19" h="160679">
                    <a:moveTo>
                      <a:pt x="0" y="0"/>
                    </a:moveTo>
                    <a:lnTo>
                      <a:pt x="0" y="160680"/>
                    </a:lnTo>
                    <a:lnTo>
                      <a:pt x="101520" y="160680"/>
                    </a:lnTo>
                    <a:lnTo>
                      <a:pt x="101520" y="139500"/>
                    </a:lnTo>
                    <a:lnTo>
                      <a:pt x="25560" y="139500"/>
                    </a:lnTo>
                    <a:lnTo>
                      <a:pt x="25560" y="0"/>
                    </a:lnTo>
                    <a:close/>
                  </a:path>
                </a:pathLst>
              </a:custGeom>
              <a:solidFill>
                <a:srgbClr val="06357A"/>
              </a:solidFill>
              <a:ln w="59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0E984B35-62DB-7F91-A648-CE89CC32AF74}"/>
                  </a:ext>
                </a:extLst>
              </p:cNvPr>
              <p:cNvSpPr/>
              <p:nvPr/>
            </p:nvSpPr>
            <p:spPr>
              <a:xfrm>
                <a:off x="87329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8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38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8968E1AB-1AE4-839B-F32C-C350F12A00AA}"/>
                  </a:ext>
                </a:extLst>
              </p:cNvPr>
              <p:cNvSpPr/>
              <p:nvPr/>
            </p:nvSpPr>
            <p:spPr>
              <a:xfrm>
                <a:off x="1069619" y="400019"/>
                <a:ext cx="143879" cy="160679"/>
              </a:xfrm>
              <a:custGeom>
                <a:avLst/>
                <a:gdLst>
                  <a:gd name="connsiteX0" fmla="*/ 82380 w 143879"/>
                  <a:gd name="connsiteY0" fmla="*/ 88740 h 160679"/>
                  <a:gd name="connsiteX1" fmla="*/ 82380 w 143879"/>
                  <a:gd name="connsiteY1" fmla="*/ 160680 h 160679"/>
                  <a:gd name="connsiteX2" fmla="*/ 57120 w 143879"/>
                  <a:gd name="connsiteY2" fmla="*/ 160680 h 160679"/>
                  <a:gd name="connsiteX3" fmla="*/ 57120 w 143879"/>
                  <a:gd name="connsiteY3" fmla="*/ 88740 h 160679"/>
                  <a:gd name="connsiteX4" fmla="*/ 0 w 143879"/>
                  <a:gd name="connsiteY4" fmla="*/ 0 h 160679"/>
                  <a:gd name="connsiteX5" fmla="*/ 29580 w 143879"/>
                  <a:gd name="connsiteY5" fmla="*/ 0 h 160679"/>
                  <a:gd name="connsiteX6" fmla="*/ 71940 w 143879"/>
                  <a:gd name="connsiteY6" fmla="*/ 65520 h 160679"/>
                  <a:gd name="connsiteX7" fmla="*/ 114300 w 143879"/>
                  <a:gd name="connsiteY7" fmla="*/ 0 h 160679"/>
                  <a:gd name="connsiteX8" fmla="*/ 143880 w 143879"/>
                  <a:gd name="connsiteY8"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79" h="160679">
                    <a:moveTo>
                      <a:pt x="82380" y="88740"/>
                    </a:moveTo>
                    <a:lnTo>
                      <a:pt x="82380" y="160680"/>
                    </a:lnTo>
                    <a:lnTo>
                      <a:pt x="57120" y="160680"/>
                    </a:lnTo>
                    <a:lnTo>
                      <a:pt x="57120" y="88740"/>
                    </a:lnTo>
                    <a:lnTo>
                      <a:pt x="0" y="0"/>
                    </a:lnTo>
                    <a:lnTo>
                      <a:pt x="29580" y="0"/>
                    </a:lnTo>
                    <a:lnTo>
                      <a:pt x="71940" y="65520"/>
                    </a:lnTo>
                    <a:lnTo>
                      <a:pt x="114300" y="0"/>
                    </a:lnTo>
                    <a:lnTo>
                      <a:pt x="143880" y="0"/>
                    </a:lnTo>
                    <a:close/>
                  </a:path>
                </a:pathLst>
              </a:custGeom>
              <a:solidFill>
                <a:srgbClr val="06357A"/>
              </a:solidFill>
              <a:ln w="5989"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6282266C-04ED-D328-DFBA-D675945D01AE}"/>
                  </a:ext>
                </a:extLst>
              </p:cNvPr>
              <p:cNvSpPr/>
              <p:nvPr/>
            </p:nvSpPr>
            <p:spPr>
              <a:xfrm>
                <a:off x="1251479" y="400019"/>
                <a:ext cx="101519" cy="160679"/>
              </a:xfrm>
              <a:custGeom>
                <a:avLst/>
                <a:gdLst>
                  <a:gd name="connsiteX0" fmla="*/ 0 w 101519"/>
                  <a:gd name="connsiteY0" fmla="*/ 160680 h 160679"/>
                  <a:gd name="connsiteX1" fmla="*/ 0 w 101519"/>
                  <a:gd name="connsiteY1" fmla="*/ 0 h 160679"/>
                  <a:gd name="connsiteX2" fmla="*/ 99480 w 101519"/>
                  <a:gd name="connsiteY2" fmla="*/ 0 h 160679"/>
                  <a:gd name="connsiteX3" fmla="*/ 99480 w 101519"/>
                  <a:gd name="connsiteY3" fmla="*/ 21180 h 160679"/>
                  <a:gd name="connsiteX4" fmla="*/ 25560 w 101519"/>
                  <a:gd name="connsiteY4" fmla="*/ 21180 h 160679"/>
                  <a:gd name="connsiteX5" fmla="*/ 25560 w 101519"/>
                  <a:gd name="connsiteY5" fmla="*/ 67560 h 160679"/>
                  <a:gd name="connsiteX6" fmla="*/ 86760 w 101519"/>
                  <a:gd name="connsiteY6" fmla="*/ 67560 h 160679"/>
                  <a:gd name="connsiteX7" fmla="*/ 86760 w 101519"/>
                  <a:gd name="connsiteY7" fmla="*/ 88740 h 160679"/>
                  <a:gd name="connsiteX8" fmla="*/ 25560 w 101519"/>
                  <a:gd name="connsiteY8" fmla="*/ 88740 h 160679"/>
                  <a:gd name="connsiteX9" fmla="*/ 25560 w 101519"/>
                  <a:gd name="connsiteY9" fmla="*/ 139500 h 160679"/>
                  <a:gd name="connsiteX10" fmla="*/ 101520 w 101519"/>
                  <a:gd name="connsiteY10" fmla="*/ 139500 h 160679"/>
                  <a:gd name="connsiteX11" fmla="*/ 101520 w 101519"/>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19" h="160679">
                    <a:moveTo>
                      <a:pt x="0" y="160680"/>
                    </a:moveTo>
                    <a:lnTo>
                      <a:pt x="0" y="0"/>
                    </a:lnTo>
                    <a:lnTo>
                      <a:pt x="99480" y="0"/>
                    </a:lnTo>
                    <a:lnTo>
                      <a:pt x="99480" y="21180"/>
                    </a:lnTo>
                    <a:lnTo>
                      <a:pt x="25560" y="21180"/>
                    </a:lnTo>
                    <a:lnTo>
                      <a:pt x="25560" y="67560"/>
                    </a:lnTo>
                    <a:lnTo>
                      <a:pt x="86760" y="67560"/>
                    </a:lnTo>
                    <a:lnTo>
                      <a:pt x="8676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A26858FE-D6D4-3A6C-CF41-2542884F89E3}"/>
                  </a:ext>
                </a:extLst>
              </p:cNvPr>
              <p:cNvSpPr/>
              <p:nvPr/>
            </p:nvSpPr>
            <p:spPr>
              <a:xfrm>
                <a:off x="1402439" y="400019"/>
                <a:ext cx="145919" cy="162719"/>
              </a:xfrm>
              <a:custGeom>
                <a:avLst/>
                <a:gdLst>
                  <a:gd name="connsiteX0" fmla="*/ 122700 w 145919"/>
                  <a:gd name="connsiteY0" fmla="*/ 162720 h 162719"/>
                  <a:gd name="connsiteX1" fmla="*/ 31920 w 145919"/>
                  <a:gd name="connsiteY1" fmla="*/ 46740 h 162719"/>
                  <a:gd name="connsiteX2" fmla="*/ 23520 w 145919"/>
                  <a:gd name="connsiteY2" fmla="*/ 31920 h 162719"/>
                  <a:gd name="connsiteX3" fmla="*/ 23520 w 145919"/>
                  <a:gd name="connsiteY3" fmla="*/ 160680 h 162719"/>
                  <a:gd name="connsiteX4" fmla="*/ 0 w 145919"/>
                  <a:gd name="connsiteY4" fmla="*/ 160680 h 162719"/>
                  <a:gd name="connsiteX5" fmla="*/ 0 w 145919"/>
                  <a:gd name="connsiteY5" fmla="*/ 0 h 162719"/>
                  <a:gd name="connsiteX6" fmla="*/ 25560 w 145919"/>
                  <a:gd name="connsiteY6" fmla="*/ 0 h 162719"/>
                  <a:gd name="connsiteX7" fmla="*/ 116340 w 145919"/>
                  <a:gd name="connsiteY7" fmla="*/ 114300 h 162719"/>
                  <a:gd name="connsiteX8" fmla="*/ 122700 w 145919"/>
                  <a:gd name="connsiteY8" fmla="*/ 129060 h 162719"/>
                  <a:gd name="connsiteX9" fmla="*/ 122700 w 145919"/>
                  <a:gd name="connsiteY9" fmla="*/ 0 h 162719"/>
                  <a:gd name="connsiteX10" fmla="*/ 145920 w 145919"/>
                  <a:gd name="connsiteY10" fmla="*/ 0 h 162719"/>
                  <a:gd name="connsiteX11" fmla="*/ 145920 w 145919"/>
                  <a:gd name="connsiteY11" fmla="*/ 162660 h 162719"/>
                  <a:gd name="connsiteX12" fmla="*/ 122700 w 145919"/>
                  <a:gd name="connsiteY12" fmla="*/ 16266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9" h="162719">
                    <a:moveTo>
                      <a:pt x="122700" y="162720"/>
                    </a:moveTo>
                    <a:lnTo>
                      <a:pt x="31920" y="46740"/>
                    </a:lnTo>
                    <a:cubicBezTo>
                      <a:pt x="26520" y="39660"/>
                      <a:pt x="24540" y="36300"/>
                      <a:pt x="23520" y="31920"/>
                    </a:cubicBezTo>
                    <a:lnTo>
                      <a:pt x="23520" y="160680"/>
                    </a:lnTo>
                    <a:lnTo>
                      <a:pt x="0" y="160680"/>
                    </a:lnTo>
                    <a:lnTo>
                      <a:pt x="0" y="0"/>
                    </a:lnTo>
                    <a:lnTo>
                      <a:pt x="25560" y="0"/>
                    </a:lnTo>
                    <a:lnTo>
                      <a:pt x="116340" y="114300"/>
                    </a:lnTo>
                    <a:cubicBezTo>
                      <a:pt x="119040" y="117960"/>
                      <a:pt x="122040" y="124020"/>
                      <a:pt x="122700" y="129060"/>
                    </a:cubicBezTo>
                    <a:lnTo>
                      <a:pt x="122700" y="0"/>
                    </a:lnTo>
                    <a:lnTo>
                      <a:pt x="145920" y="0"/>
                    </a:lnTo>
                    <a:lnTo>
                      <a:pt x="145920" y="162660"/>
                    </a:lnTo>
                    <a:lnTo>
                      <a:pt x="122700" y="162660"/>
                    </a:lnTo>
                    <a:close/>
                  </a:path>
                </a:pathLst>
              </a:custGeom>
              <a:solidFill>
                <a:srgbClr val="06357A"/>
              </a:solidFill>
              <a:ln w="59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F2A69782-2B9B-9546-01A5-9748306AE71D}"/>
                  </a:ext>
                </a:extLst>
              </p:cNvPr>
              <p:cNvSpPr/>
              <p:nvPr/>
            </p:nvSpPr>
            <p:spPr>
              <a:xfrm>
                <a:off x="1597379" y="397320"/>
                <a:ext cx="115679" cy="166319"/>
              </a:xfrm>
              <a:custGeom>
                <a:avLst/>
                <a:gdLst>
                  <a:gd name="connsiteX0" fmla="*/ 106560 w 115679"/>
                  <a:gd name="connsiteY0" fmla="*/ 34620 h 166319"/>
                  <a:gd name="connsiteX1" fmla="*/ 86400 w 115679"/>
                  <a:gd name="connsiteY1" fmla="*/ 24840 h 166319"/>
                  <a:gd name="connsiteX2" fmla="*/ 63900 w 115679"/>
                  <a:gd name="connsiteY2" fmla="*/ 21480 h 166319"/>
                  <a:gd name="connsiteX3" fmla="*/ 30960 w 115679"/>
                  <a:gd name="connsiteY3" fmla="*/ 41280 h 166319"/>
                  <a:gd name="connsiteX4" fmla="*/ 32940 w 115679"/>
                  <a:gd name="connsiteY4" fmla="*/ 49680 h 166319"/>
                  <a:gd name="connsiteX5" fmla="*/ 74280 w 115679"/>
                  <a:gd name="connsiteY5" fmla="*/ 74880 h 166319"/>
                  <a:gd name="connsiteX6" fmla="*/ 114300 w 115679"/>
                  <a:gd name="connsiteY6" fmla="*/ 120600 h 166319"/>
                  <a:gd name="connsiteX7" fmla="*/ 55800 w 115679"/>
                  <a:gd name="connsiteY7" fmla="*/ 166320 h 166319"/>
                  <a:gd name="connsiteX8" fmla="*/ 22860 w 115679"/>
                  <a:gd name="connsiteY8" fmla="*/ 161280 h 166319"/>
                  <a:gd name="connsiteX9" fmla="*/ 0 w 115679"/>
                  <a:gd name="connsiteY9" fmla="*/ 149160 h 166319"/>
                  <a:gd name="connsiteX10" fmla="*/ 11400 w 115679"/>
                  <a:gd name="connsiteY10" fmla="*/ 127320 h 166319"/>
                  <a:gd name="connsiteX11" fmla="*/ 32220 w 115679"/>
                  <a:gd name="connsiteY11" fmla="*/ 140100 h 166319"/>
                  <a:gd name="connsiteX12" fmla="*/ 58800 w 115679"/>
                  <a:gd name="connsiteY12" fmla="*/ 145500 h 166319"/>
                  <a:gd name="connsiteX13" fmla="*/ 88740 w 115679"/>
                  <a:gd name="connsiteY13" fmla="*/ 124020 h 166319"/>
                  <a:gd name="connsiteX14" fmla="*/ 70560 w 115679"/>
                  <a:gd name="connsiteY14" fmla="*/ 100140 h 166319"/>
                  <a:gd name="connsiteX15" fmla="*/ 41340 w 115679"/>
                  <a:gd name="connsiteY15" fmla="*/ 86040 h 166319"/>
                  <a:gd name="connsiteX16" fmla="*/ 5700 w 115679"/>
                  <a:gd name="connsiteY16" fmla="*/ 43680 h 166319"/>
                  <a:gd name="connsiteX17" fmla="*/ 64200 w 115679"/>
                  <a:gd name="connsiteY17" fmla="*/ 0 h 166319"/>
                  <a:gd name="connsiteX18" fmla="*/ 94140 w 115679"/>
                  <a:gd name="connsiteY18" fmla="*/ 4020 h 166319"/>
                  <a:gd name="connsiteX19" fmla="*/ 115680 w 115679"/>
                  <a:gd name="connsiteY19" fmla="*/ 13440 h 166319"/>
                  <a:gd name="connsiteX20" fmla="*/ 106560 w 115679"/>
                  <a:gd name="connsiteY20" fmla="*/ 34620 h 1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679" h="166319">
                    <a:moveTo>
                      <a:pt x="106560" y="34620"/>
                    </a:moveTo>
                    <a:cubicBezTo>
                      <a:pt x="98160" y="28920"/>
                      <a:pt x="94440" y="27240"/>
                      <a:pt x="86400" y="24840"/>
                    </a:cubicBezTo>
                    <a:cubicBezTo>
                      <a:pt x="78000" y="22140"/>
                      <a:pt x="70920" y="21480"/>
                      <a:pt x="63900" y="21480"/>
                    </a:cubicBezTo>
                    <a:cubicBezTo>
                      <a:pt x="43380" y="21480"/>
                      <a:pt x="30960" y="28860"/>
                      <a:pt x="30960" y="41280"/>
                    </a:cubicBezTo>
                    <a:cubicBezTo>
                      <a:pt x="30960" y="44640"/>
                      <a:pt x="31620" y="47700"/>
                      <a:pt x="32940" y="49680"/>
                    </a:cubicBezTo>
                    <a:cubicBezTo>
                      <a:pt x="37680" y="56760"/>
                      <a:pt x="43020" y="59760"/>
                      <a:pt x="74280" y="74880"/>
                    </a:cubicBezTo>
                    <a:cubicBezTo>
                      <a:pt x="104520" y="89640"/>
                      <a:pt x="114300" y="100740"/>
                      <a:pt x="114300" y="120600"/>
                    </a:cubicBezTo>
                    <a:cubicBezTo>
                      <a:pt x="114300" y="149160"/>
                      <a:pt x="92100" y="166320"/>
                      <a:pt x="55800" y="166320"/>
                    </a:cubicBezTo>
                    <a:cubicBezTo>
                      <a:pt x="43680" y="166320"/>
                      <a:pt x="32280" y="164640"/>
                      <a:pt x="22860" y="161280"/>
                    </a:cubicBezTo>
                    <a:cubicBezTo>
                      <a:pt x="16140" y="158580"/>
                      <a:pt x="11400" y="156240"/>
                      <a:pt x="0" y="149160"/>
                    </a:cubicBezTo>
                    <a:lnTo>
                      <a:pt x="11400" y="127320"/>
                    </a:lnTo>
                    <a:cubicBezTo>
                      <a:pt x="21480" y="134700"/>
                      <a:pt x="25860" y="137400"/>
                      <a:pt x="32220" y="140100"/>
                    </a:cubicBezTo>
                    <a:cubicBezTo>
                      <a:pt x="40320" y="143460"/>
                      <a:pt x="49680" y="145500"/>
                      <a:pt x="58800" y="145500"/>
                    </a:cubicBezTo>
                    <a:cubicBezTo>
                      <a:pt x="77640" y="145500"/>
                      <a:pt x="88740" y="137460"/>
                      <a:pt x="88740" y="124020"/>
                    </a:cubicBezTo>
                    <a:cubicBezTo>
                      <a:pt x="88740" y="113280"/>
                      <a:pt x="83340" y="106200"/>
                      <a:pt x="70560" y="100140"/>
                    </a:cubicBezTo>
                    <a:lnTo>
                      <a:pt x="41340" y="86040"/>
                    </a:lnTo>
                    <a:cubicBezTo>
                      <a:pt x="16800" y="74280"/>
                      <a:pt x="5700" y="60840"/>
                      <a:pt x="5700" y="43680"/>
                    </a:cubicBezTo>
                    <a:cubicBezTo>
                      <a:pt x="5700" y="17100"/>
                      <a:pt x="28560" y="0"/>
                      <a:pt x="64200" y="0"/>
                    </a:cubicBezTo>
                    <a:cubicBezTo>
                      <a:pt x="74640" y="0"/>
                      <a:pt x="85020" y="1320"/>
                      <a:pt x="94140" y="4020"/>
                    </a:cubicBezTo>
                    <a:cubicBezTo>
                      <a:pt x="101520" y="6060"/>
                      <a:pt x="105540" y="8040"/>
                      <a:pt x="115680" y="13440"/>
                    </a:cubicBezTo>
                    <a:lnTo>
                      <a:pt x="106560" y="34620"/>
                    </a:lnTo>
                    <a:close/>
                  </a:path>
                </a:pathLst>
              </a:custGeom>
              <a:solidFill>
                <a:srgbClr val="06357A"/>
              </a:solidFill>
              <a:ln w="5989" cap="flat">
                <a:noFill/>
                <a:prstDash val="solid"/>
                <a:miter/>
              </a:ln>
            </p:spPr>
            <p:txBody>
              <a:bodyPr rtlCol="0" anchor="ctr"/>
              <a:lstStyle/>
              <a:p>
                <a:endParaRPr lang="en-GB" dirty="0"/>
              </a:p>
            </p:txBody>
          </p:sp>
        </p:grpSp>
        <p:grpSp>
          <p:nvGrpSpPr>
            <p:cNvPr id="12" name="Graphic 3">
              <a:extLst>
                <a:ext uri="{FF2B5EF4-FFF2-40B4-BE49-F238E27FC236}">
                  <a16:creationId xmlns:a16="http://schemas.microsoft.com/office/drawing/2014/main" id="{223086F3-A46B-6784-D8E7-58FE424405A4}"/>
                </a:ext>
              </a:extLst>
            </p:cNvPr>
            <p:cNvGrpSpPr/>
            <p:nvPr/>
          </p:nvGrpSpPr>
          <p:grpSpPr>
            <a:xfrm>
              <a:off x="1619999" y="701219"/>
              <a:ext cx="481139" cy="80940"/>
              <a:chOff x="1619999" y="701219"/>
              <a:chExt cx="481139" cy="80940"/>
            </a:xfrm>
            <a:solidFill>
              <a:srgbClr val="06357A"/>
            </a:solidFill>
          </p:grpSpPr>
          <p:sp>
            <p:nvSpPr>
              <p:cNvPr id="13" name="Freeform: Shape 12">
                <a:extLst>
                  <a:ext uri="{FF2B5EF4-FFF2-40B4-BE49-F238E27FC236}">
                    <a16:creationId xmlns:a16="http://schemas.microsoft.com/office/drawing/2014/main" id="{E2EB9138-041D-3BF4-A290-3232F67E87D8}"/>
                  </a:ext>
                </a:extLst>
              </p:cNvPr>
              <p:cNvSpPr/>
              <p:nvPr/>
            </p:nvSpPr>
            <p:spPr>
              <a:xfrm>
                <a:off x="1619999" y="701219"/>
                <a:ext cx="51959" cy="79200"/>
              </a:xfrm>
              <a:custGeom>
                <a:avLst/>
                <a:gdLst>
                  <a:gd name="connsiteX0" fmla="*/ 0 w 51959"/>
                  <a:gd name="connsiteY0" fmla="*/ 0 h 79200"/>
                  <a:gd name="connsiteX1" fmla="*/ 7560 w 51959"/>
                  <a:gd name="connsiteY1" fmla="*/ 0 h 79200"/>
                  <a:gd name="connsiteX2" fmla="*/ 7560 w 51959"/>
                  <a:gd name="connsiteY2" fmla="*/ 72780 h 79200"/>
                  <a:gd name="connsiteX3" fmla="*/ 51960 w 51959"/>
                  <a:gd name="connsiteY3" fmla="*/ 72780 h 79200"/>
                  <a:gd name="connsiteX4" fmla="*/ 51960 w 51959"/>
                  <a:gd name="connsiteY4" fmla="*/ 79200 h 79200"/>
                  <a:gd name="connsiteX5" fmla="*/ 0 w 51959"/>
                  <a:gd name="connsiteY5" fmla="*/ 79200 h 79200"/>
                  <a:gd name="connsiteX6" fmla="*/ 0 w 51959"/>
                  <a:gd name="connsiteY6"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59" h="79200">
                    <a:moveTo>
                      <a:pt x="0" y="0"/>
                    </a:moveTo>
                    <a:lnTo>
                      <a:pt x="7560" y="0"/>
                    </a:lnTo>
                    <a:lnTo>
                      <a:pt x="7560" y="72780"/>
                    </a:lnTo>
                    <a:lnTo>
                      <a:pt x="51960" y="72780"/>
                    </a:lnTo>
                    <a:lnTo>
                      <a:pt x="51960" y="79200"/>
                    </a:lnTo>
                    <a:lnTo>
                      <a:pt x="0" y="79200"/>
                    </a:lnTo>
                    <a:lnTo>
                      <a:pt x="0" y="0"/>
                    </a:lnTo>
                    <a:close/>
                  </a:path>
                </a:pathLst>
              </a:custGeom>
              <a:solidFill>
                <a:srgbClr val="06357A"/>
              </a:solidFill>
              <a:ln w="5989"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5A6F993A-E390-831D-85D6-D74EEF09A381}"/>
                  </a:ext>
                </a:extLst>
              </p:cNvPr>
              <p:cNvSpPr/>
              <p:nvPr/>
            </p:nvSpPr>
            <p:spPr>
              <a:xfrm>
                <a:off x="167501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DA8B5DFC-5998-ED78-C089-D8D9FDAA7E38}"/>
                  </a:ext>
                </a:extLst>
              </p:cNvPr>
              <p:cNvSpPr/>
              <p:nvPr/>
            </p:nvSpPr>
            <p:spPr>
              <a:xfrm>
                <a:off x="1730039" y="723180"/>
                <a:ext cx="80459" cy="57240"/>
              </a:xfrm>
              <a:custGeom>
                <a:avLst/>
                <a:gdLst>
                  <a:gd name="connsiteX0" fmla="*/ 0 w 80459"/>
                  <a:gd name="connsiteY0" fmla="*/ 0 h 57240"/>
                  <a:gd name="connsiteX1" fmla="*/ 7440 w 80459"/>
                  <a:gd name="connsiteY1" fmla="*/ 0 h 57240"/>
                  <a:gd name="connsiteX2" fmla="*/ 22080 w 80459"/>
                  <a:gd name="connsiteY2" fmla="*/ 49020 h 57240"/>
                  <a:gd name="connsiteX3" fmla="*/ 22320 w 80459"/>
                  <a:gd name="connsiteY3" fmla="*/ 49020 h 57240"/>
                  <a:gd name="connsiteX4" fmla="*/ 36300 w 80459"/>
                  <a:gd name="connsiteY4" fmla="*/ 0 h 57240"/>
                  <a:gd name="connsiteX5" fmla="*/ 44160 w 80459"/>
                  <a:gd name="connsiteY5" fmla="*/ 0 h 57240"/>
                  <a:gd name="connsiteX6" fmla="*/ 58140 w 80459"/>
                  <a:gd name="connsiteY6" fmla="*/ 49020 h 57240"/>
                  <a:gd name="connsiteX7" fmla="*/ 58380 w 80459"/>
                  <a:gd name="connsiteY7" fmla="*/ 49020 h 57240"/>
                  <a:gd name="connsiteX8" fmla="*/ 73020 w 80459"/>
                  <a:gd name="connsiteY8" fmla="*/ 0 h 57240"/>
                  <a:gd name="connsiteX9" fmla="*/ 80460 w 80459"/>
                  <a:gd name="connsiteY9" fmla="*/ 0 h 57240"/>
                  <a:gd name="connsiteX10" fmla="*/ 62040 w 80459"/>
                  <a:gd name="connsiteY10" fmla="*/ 57240 h 57240"/>
                  <a:gd name="connsiteX11" fmla="*/ 54360 w 80459"/>
                  <a:gd name="connsiteY11" fmla="*/ 57240 h 57240"/>
                  <a:gd name="connsiteX12" fmla="*/ 40260 w 80459"/>
                  <a:gd name="connsiteY12" fmla="*/ 9060 h 57240"/>
                  <a:gd name="connsiteX13" fmla="*/ 40020 w 80459"/>
                  <a:gd name="connsiteY13" fmla="*/ 9060 h 57240"/>
                  <a:gd name="connsiteX14" fmla="*/ 26040 w 80459"/>
                  <a:gd name="connsiteY14" fmla="*/ 57240 h 57240"/>
                  <a:gd name="connsiteX15" fmla="*/ 18360 w 80459"/>
                  <a:gd name="connsiteY15" fmla="*/ 57240 h 57240"/>
                  <a:gd name="connsiteX16" fmla="*/ 0 w 80459"/>
                  <a:gd name="connsiteY16" fmla="*/ 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459" h="57240">
                    <a:moveTo>
                      <a:pt x="0" y="0"/>
                    </a:moveTo>
                    <a:lnTo>
                      <a:pt x="7440" y="0"/>
                    </a:lnTo>
                    <a:lnTo>
                      <a:pt x="22080" y="49020"/>
                    </a:lnTo>
                    <a:lnTo>
                      <a:pt x="22320" y="49020"/>
                    </a:lnTo>
                    <a:lnTo>
                      <a:pt x="36300" y="0"/>
                    </a:lnTo>
                    <a:lnTo>
                      <a:pt x="44160" y="0"/>
                    </a:lnTo>
                    <a:lnTo>
                      <a:pt x="58140" y="49020"/>
                    </a:lnTo>
                    <a:lnTo>
                      <a:pt x="58380" y="49020"/>
                    </a:lnTo>
                    <a:lnTo>
                      <a:pt x="73020" y="0"/>
                    </a:lnTo>
                    <a:lnTo>
                      <a:pt x="80460" y="0"/>
                    </a:lnTo>
                    <a:lnTo>
                      <a:pt x="62040" y="57240"/>
                    </a:lnTo>
                    <a:lnTo>
                      <a:pt x="54360" y="57240"/>
                    </a:lnTo>
                    <a:lnTo>
                      <a:pt x="40260" y="9060"/>
                    </a:lnTo>
                    <a:lnTo>
                      <a:pt x="40020" y="9060"/>
                    </a:lnTo>
                    <a:lnTo>
                      <a:pt x="26040" y="57240"/>
                    </a:lnTo>
                    <a:lnTo>
                      <a:pt x="18360" y="57240"/>
                    </a:lnTo>
                    <a:lnTo>
                      <a:pt x="0" y="0"/>
                    </a:lnTo>
                    <a:close/>
                  </a:path>
                </a:pathLst>
              </a:custGeom>
              <a:solidFill>
                <a:srgbClr val="06357A"/>
              </a:solidFill>
              <a:ln w="5989"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772E41CB-24F6-3224-1029-3DAAFCEEBCDD}"/>
                  </a:ext>
                </a:extLst>
              </p:cNvPr>
              <p:cNvSpPr/>
              <p:nvPr/>
            </p:nvSpPr>
            <p:spPr>
              <a:xfrm>
                <a:off x="1846559" y="701279"/>
                <a:ext cx="64440" cy="80880"/>
              </a:xfrm>
              <a:custGeom>
                <a:avLst/>
                <a:gdLst>
                  <a:gd name="connsiteX0" fmla="*/ 47220 w 64440"/>
                  <a:gd name="connsiteY0" fmla="*/ 68880 h 80880"/>
                  <a:gd name="connsiteX1" fmla="*/ 23940 w 64440"/>
                  <a:gd name="connsiteY1" fmla="*/ 80880 h 80880"/>
                  <a:gd name="connsiteX2" fmla="*/ 0 w 64440"/>
                  <a:gd name="connsiteY2" fmla="*/ 58680 h 80880"/>
                  <a:gd name="connsiteX3" fmla="*/ 19440 w 64440"/>
                  <a:gd name="connsiteY3" fmla="*/ 35160 h 80880"/>
                  <a:gd name="connsiteX4" fmla="*/ 9660 w 64440"/>
                  <a:gd name="connsiteY4" fmla="*/ 16080 h 80880"/>
                  <a:gd name="connsiteX5" fmla="*/ 27180 w 64440"/>
                  <a:gd name="connsiteY5" fmla="*/ 0 h 80880"/>
                  <a:gd name="connsiteX6" fmla="*/ 44700 w 64440"/>
                  <a:gd name="connsiteY6" fmla="*/ 16080 h 80880"/>
                  <a:gd name="connsiteX7" fmla="*/ 29160 w 64440"/>
                  <a:gd name="connsiteY7" fmla="*/ 36600 h 80880"/>
                  <a:gd name="connsiteX8" fmla="*/ 46440 w 64440"/>
                  <a:gd name="connsiteY8" fmla="*/ 57480 h 80880"/>
                  <a:gd name="connsiteX9" fmla="*/ 48780 w 64440"/>
                  <a:gd name="connsiteY9" fmla="*/ 44160 h 80880"/>
                  <a:gd name="connsiteX10" fmla="*/ 55800 w 64440"/>
                  <a:gd name="connsiteY10" fmla="*/ 44160 h 80880"/>
                  <a:gd name="connsiteX11" fmla="*/ 51120 w 64440"/>
                  <a:gd name="connsiteY11" fmla="*/ 63120 h 80880"/>
                  <a:gd name="connsiteX12" fmla="*/ 64440 w 64440"/>
                  <a:gd name="connsiteY12" fmla="*/ 79200 h 80880"/>
                  <a:gd name="connsiteX13" fmla="*/ 55680 w 64440"/>
                  <a:gd name="connsiteY13" fmla="*/ 79200 h 80880"/>
                  <a:gd name="connsiteX14" fmla="*/ 47220 w 64440"/>
                  <a:gd name="connsiteY14" fmla="*/ 68880 h 80880"/>
                  <a:gd name="connsiteX15" fmla="*/ 23160 w 64440"/>
                  <a:gd name="connsiteY15" fmla="*/ 39660 h 80880"/>
                  <a:gd name="connsiteX16" fmla="*/ 6960 w 64440"/>
                  <a:gd name="connsiteY16" fmla="*/ 59280 h 80880"/>
                  <a:gd name="connsiteX17" fmla="*/ 24180 w 64440"/>
                  <a:gd name="connsiteY17" fmla="*/ 74940 h 80880"/>
                  <a:gd name="connsiteX18" fmla="*/ 42900 w 64440"/>
                  <a:gd name="connsiteY18" fmla="*/ 63600 h 80880"/>
                  <a:gd name="connsiteX19" fmla="*/ 23160 w 64440"/>
                  <a:gd name="connsiteY19" fmla="*/ 39660 h 80880"/>
                  <a:gd name="connsiteX20" fmla="*/ 16620 w 64440"/>
                  <a:gd name="connsiteY20" fmla="*/ 16020 h 80880"/>
                  <a:gd name="connsiteX21" fmla="*/ 25500 w 64440"/>
                  <a:gd name="connsiteY21" fmla="*/ 31980 h 80880"/>
                  <a:gd name="connsiteX22" fmla="*/ 37680 w 64440"/>
                  <a:gd name="connsiteY22" fmla="*/ 16020 h 80880"/>
                  <a:gd name="connsiteX23" fmla="*/ 27120 w 64440"/>
                  <a:gd name="connsiteY23" fmla="*/ 5820 h 80880"/>
                  <a:gd name="connsiteX24" fmla="*/ 16620 w 64440"/>
                  <a:gd name="connsiteY24" fmla="*/ 16020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440" h="80880">
                    <a:moveTo>
                      <a:pt x="47220" y="68880"/>
                    </a:moveTo>
                    <a:cubicBezTo>
                      <a:pt x="41460" y="76080"/>
                      <a:pt x="33240" y="80880"/>
                      <a:pt x="23940" y="80880"/>
                    </a:cubicBezTo>
                    <a:cubicBezTo>
                      <a:pt x="10320" y="80880"/>
                      <a:pt x="0" y="73020"/>
                      <a:pt x="0" y="58680"/>
                    </a:cubicBezTo>
                    <a:cubicBezTo>
                      <a:pt x="0" y="47460"/>
                      <a:pt x="10560" y="39900"/>
                      <a:pt x="19440" y="35160"/>
                    </a:cubicBezTo>
                    <a:cubicBezTo>
                      <a:pt x="15120" y="29640"/>
                      <a:pt x="9660" y="23700"/>
                      <a:pt x="9660" y="16080"/>
                    </a:cubicBezTo>
                    <a:cubicBezTo>
                      <a:pt x="9660" y="6420"/>
                      <a:pt x="17520" y="0"/>
                      <a:pt x="27180" y="0"/>
                    </a:cubicBezTo>
                    <a:cubicBezTo>
                      <a:pt x="36840" y="0"/>
                      <a:pt x="44700" y="6420"/>
                      <a:pt x="44700" y="16080"/>
                    </a:cubicBezTo>
                    <a:cubicBezTo>
                      <a:pt x="44700" y="25980"/>
                      <a:pt x="37020" y="31620"/>
                      <a:pt x="29160" y="36600"/>
                    </a:cubicBezTo>
                    <a:lnTo>
                      <a:pt x="46440" y="57480"/>
                    </a:lnTo>
                    <a:cubicBezTo>
                      <a:pt x="48300" y="53580"/>
                      <a:pt x="48780" y="50280"/>
                      <a:pt x="48780" y="44160"/>
                    </a:cubicBezTo>
                    <a:lnTo>
                      <a:pt x="55800" y="44160"/>
                    </a:lnTo>
                    <a:cubicBezTo>
                      <a:pt x="55800" y="48600"/>
                      <a:pt x="54780" y="56340"/>
                      <a:pt x="51120" y="63120"/>
                    </a:cubicBezTo>
                    <a:lnTo>
                      <a:pt x="64440" y="79200"/>
                    </a:lnTo>
                    <a:lnTo>
                      <a:pt x="55680" y="79200"/>
                    </a:lnTo>
                    <a:lnTo>
                      <a:pt x="47220" y="68880"/>
                    </a:lnTo>
                    <a:close/>
                    <a:moveTo>
                      <a:pt x="23160" y="39660"/>
                    </a:moveTo>
                    <a:cubicBezTo>
                      <a:pt x="15480" y="43740"/>
                      <a:pt x="6960" y="49740"/>
                      <a:pt x="6960" y="59280"/>
                    </a:cubicBezTo>
                    <a:cubicBezTo>
                      <a:pt x="6960" y="68580"/>
                      <a:pt x="15300" y="74940"/>
                      <a:pt x="24180" y="74940"/>
                    </a:cubicBezTo>
                    <a:cubicBezTo>
                      <a:pt x="32160" y="74940"/>
                      <a:pt x="38520" y="69960"/>
                      <a:pt x="42900" y="63600"/>
                    </a:cubicBezTo>
                    <a:lnTo>
                      <a:pt x="23160" y="39660"/>
                    </a:lnTo>
                    <a:close/>
                    <a:moveTo>
                      <a:pt x="16620" y="16020"/>
                    </a:moveTo>
                    <a:cubicBezTo>
                      <a:pt x="16620" y="21540"/>
                      <a:pt x="21960" y="27780"/>
                      <a:pt x="25500" y="31980"/>
                    </a:cubicBezTo>
                    <a:cubicBezTo>
                      <a:pt x="31020" y="28440"/>
                      <a:pt x="37680" y="23760"/>
                      <a:pt x="37680" y="16020"/>
                    </a:cubicBezTo>
                    <a:cubicBezTo>
                      <a:pt x="37680" y="9360"/>
                      <a:pt x="32940" y="5820"/>
                      <a:pt x="27120" y="5820"/>
                    </a:cubicBezTo>
                    <a:cubicBezTo>
                      <a:pt x="21360" y="5820"/>
                      <a:pt x="16620" y="9360"/>
                      <a:pt x="16620" y="16020"/>
                    </a:cubicBezTo>
                    <a:close/>
                  </a:path>
                </a:pathLst>
              </a:custGeom>
              <a:solidFill>
                <a:srgbClr val="06357A"/>
              </a:solidFill>
              <a:ln w="5989"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45407377-FEDE-A237-0EAA-03ADEDEFE926}"/>
                  </a:ext>
                </a:extLst>
              </p:cNvPr>
              <p:cNvSpPr/>
              <p:nvPr/>
            </p:nvSpPr>
            <p:spPr>
              <a:xfrm>
                <a:off x="1940219" y="701219"/>
                <a:ext cx="62880" cy="79200"/>
              </a:xfrm>
              <a:custGeom>
                <a:avLst/>
                <a:gdLst>
                  <a:gd name="connsiteX0" fmla="*/ 60 w 62880"/>
                  <a:gd name="connsiteY0" fmla="*/ 0 h 79200"/>
                  <a:gd name="connsiteX1" fmla="*/ 62880 w 62880"/>
                  <a:gd name="connsiteY1" fmla="*/ 0 h 79200"/>
                  <a:gd name="connsiteX2" fmla="*/ 62880 w 62880"/>
                  <a:gd name="connsiteY2" fmla="*/ 6420 h 79200"/>
                  <a:gd name="connsiteX3" fmla="*/ 35220 w 62880"/>
                  <a:gd name="connsiteY3" fmla="*/ 6420 h 79200"/>
                  <a:gd name="connsiteX4" fmla="*/ 35220 w 62880"/>
                  <a:gd name="connsiteY4" fmla="*/ 79200 h 79200"/>
                  <a:gd name="connsiteX5" fmla="*/ 27660 w 62880"/>
                  <a:gd name="connsiteY5" fmla="*/ 79200 h 79200"/>
                  <a:gd name="connsiteX6" fmla="*/ 27660 w 62880"/>
                  <a:gd name="connsiteY6" fmla="*/ 6420 h 79200"/>
                  <a:gd name="connsiteX7" fmla="*/ 0 w 62880"/>
                  <a:gd name="connsiteY7" fmla="*/ 6420 h 79200"/>
                  <a:gd name="connsiteX8" fmla="*/ 0 w 62880"/>
                  <a:gd name="connsiteY8"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80" h="79200">
                    <a:moveTo>
                      <a:pt x="60" y="0"/>
                    </a:moveTo>
                    <a:lnTo>
                      <a:pt x="62880" y="0"/>
                    </a:lnTo>
                    <a:lnTo>
                      <a:pt x="62880" y="6420"/>
                    </a:lnTo>
                    <a:lnTo>
                      <a:pt x="35220" y="6420"/>
                    </a:lnTo>
                    <a:lnTo>
                      <a:pt x="35220" y="79200"/>
                    </a:lnTo>
                    <a:lnTo>
                      <a:pt x="27660" y="79200"/>
                    </a:lnTo>
                    <a:lnTo>
                      <a:pt x="27660" y="6420"/>
                    </a:lnTo>
                    <a:lnTo>
                      <a:pt x="0" y="6420"/>
                    </a:lnTo>
                    <a:lnTo>
                      <a:pt x="0" y="0"/>
                    </a:lnTo>
                    <a:close/>
                  </a:path>
                </a:pathLst>
              </a:custGeom>
              <a:solidFill>
                <a:srgbClr val="06357A"/>
              </a:solidFill>
              <a:ln w="5989"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E5812581-AB35-0C16-60E4-7FB199205EFE}"/>
                  </a:ext>
                </a:extLst>
              </p:cNvPr>
              <p:cNvSpPr/>
              <p:nvPr/>
            </p:nvSpPr>
            <p:spPr>
              <a:xfrm>
                <a:off x="199373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1238E1D-CE90-FE3A-14A1-F5246C2062FC}"/>
                  </a:ext>
                </a:extLst>
              </p:cNvPr>
              <p:cNvSpPr/>
              <p:nvPr/>
            </p:nvSpPr>
            <p:spPr>
              <a:xfrm>
                <a:off x="2047979" y="723180"/>
                <a:ext cx="53159" cy="57240"/>
              </a:xfrm>
              <a:custGeom>
                <a:avLst/>
                <a:gdLst>
                  <a:gd name="connsiteX0" fmla="*/ 22200 w 53159"/>
                  <a:gd name="connsiteY0" fmla="*/ 27540 h 57240"/>
                  <a:gd name="connsiteX1" fmla="*/ 1680 w 53159"/>
                  <a:gd name="connsiteY1" fmla="*/ 0 h 57240"/>
                  <a:gd name="connsiteX2" fmla="*/ 10440 w 53159"/>
                  <a:gd name="connsiteY2" fmla="*/ 0 h 57240"/>
                  <a:gd name="connsiteX3" fmla="*/ 26760 w 53159"/>
                  <a:gd name="connsiteY3" fmla="*/ 21720 h 57240"/>
                  <a:gd name="connsiteX4" fmla="*/ 42720 w 53159"/>
                  <a:gd name="connsiteY4" fmla="*/ 0 h 57240"/>
                  <a:gd name="connsiteX5" fmla="*/ 51480 w 53159"/>
                  <a:gd name="connsiteY5" fmla="*/ 0 h 57240"/>
                  <a:gd name="connsiteX6" fmla="*/ 30840 w 53159"/>
                  <a:gd name="connsiteY6" fmla="*/ 27420 h 57240"/>
                  <a:gd name="connsiteX7" fmla="*/ 53160 w 53159"/>
                  <a:gd name="connsiteY7" fmla="*/ 57240 h 57240"/>
                  <a:gd name="connsiteX8" fmla="*/ 44280 w 53159"/>
                  <a:gd name="connsiteY8" fmla="*/ 57240 h 57240"/>
                  <a:gd name="connsiteX9" fmla="*/ 26280 w 53159"/>
                  <a:gd name="connsiteY9" fmla="*/ 33180 h 57240"/>
                  <a:gd name="connsiteX10" fmla="*/ 8640 w 53159"/>
                  <a:gd name="connsiteY10" fmla="*/ 57240 h 57240"/>
                  <a:gd name="connsiteX11" fmla="*/ 0 w 53159"/>
                  <a:gd name="connsiteY11" fmla="*/ 57240 h 57240"/>
                  <a:gd name="connsiteX12" fmla="*/ 22200 w 53159"/>
                  <a:gd name="connsiteY12" fmla="*/ 2754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159" h="57240">
                    <a:moveTo>
                      <a:pt x="22200" y="27540"/>
                    </a:moveTo>
                    <a:lnTo>
                      <a:pt x="1680" y="0"/>
                    </a:lnTo>
                    <a:lnTo>
                      <a:pt x="10440" y="0"/>
                    </a:lnTo>
                    <a:lnTo>
                      <a:pt x="26760" y="21720"/>
                    </a:lnTo>
                    <a:lnTo>
                      <a:pt x="42720" y="0"/>
                    </a:lnTo>
                    <a:lnTo>
                      <a:pt x="51480" y="0"/>
                    </a:lnTo>
                    <a:lnTo>
                      <a:pt x="30840" y="27420"/>
                    </a:lnTo>
                    <a:lnTo>
                      <a:pt x="53160" y="57240"/>
                    </a:lnTo>
                    <a:lnTo>
                      <a:pt x="44280" y="57240"/>
                    </a:lnTo>
                    <a:lnTo>
                      <a:pt x="26280" y="33180"/>
                    </a:lnTo>
                    <a:lnTo>
                      <a:pt x="8640" y="57240"/>
                    </a:lnTo>
                    <a:lnTo>
                      <a:pt x="0" y="57240"/>
                    </a:lnTo>
                    <a:lnTo>
                      <a:pt x="22200" y="27540"/>
                    </a:lnTo>
                    <a:close/>
                  </a:path>
                </a:pathLst>
              </a:custGeom>
              <a:solidFill>
                <a:srgbClr val="06357A"/>
              </a:solidFill>
              <a:ln w="5989" cap="flat">
                <a:noFill/>
                <a:prstDash val="solid"/>
                <a:miter/>
              </a:ln>
            </p:spPr>
            <p:txBody>
              <a:bodyPr rtlCol="0" anchor="ctr"/>
              <a:lstStyle/>
              <a:p>
                <a:endParaRPr lang="en-GB" dirty="0"/>
              </a:p>
            </p:txBody>
          </p:sp>
        </p:grpSp>
      </p:grpSp>
      <p:pic>
        <p:nvPicPr>
          <p:cNvPr id="49" name="Graphic 48">
            <a:extLst>
              <a:ext uri="{FF2B5EF4-FFF2-40B4-BE49-F238E27FC236}">
                <a16:creationId xmlns:a16="http://schemas.microsoft.com/office/drawing/2014/main" id="{2E8EBBD5-F18A-8816-77C1-A84371DB42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10833" y="438287"/>
            <a:ext cx="2017642" cy="156020"/>
          </a:xfrm>
          <a:prstGeom prst="rect">
            <a:avLst/>
          </a:prstGeom>
        </p:spPr>
      </p:pic>
      <p:cxnSp>
        <p:nvCxnSpPr>
          <p:cNvPr id="51" name="Straight Connector 50">
            <a:extLst>
              <a:ext uri="{FF2B5EF4-FFF2-40B4-BE49-F238E27FC236}">
                <a16:creationId xmlns:a16="http://schemas.microsoft.com/office/drawing/2014/main" id="{729E4BED-0302-0079-D7D4-81083FB37CF4}"/>
              </a:ext>
            </a:extLst>
          </p:cNvPr>
          <p:cNvCxnSpPr>
            <a:cxnSpLocks/>
          </p:cNvCxnSpPr>
          <p:nvPr/>
        </p:nvCxnSpPr>
        <p:spPr>
          <a:xfrm>
            <a:off x="263506" y="1734156"/>
            <a:ext cx="149449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 Placeholder 32">
            <a:extLst>
              <a:ext uri="{FF2B5EF4-FFF2-40B4-BE49-F238E27FC236}">
                <a16:creationId xmlns:a16="http://schemas.microsoft.com/office/drawing/2014/main" id="{827A96E0-1F16-1BF7-87C9-4C66AE382CF0}"/>
              </a:ext>
            </a:extLst>
          </p:cNvPr>
          <p:cNvSpPr>
            <a:spLocks noGrp="1"/>
          </p:cNvSpPr>
          <p:nvPr>
            <p:ph type="body" sz="quarter" idx="18" hasCustomPrompt="1"/>
          </p:nvPr>
        </p:nvSpPr>
        <p:spPr>
          <a:xfrm>
            <a:off x="730674" y="1364301"/>
            <a:ext cx="1836934" cy="184666"/>
          </a:xfrm>
          <a:prstGeom prst="rect">
            <a:avLst/>
          </a:prstGeom>
        </p:spPr>
        <p:txBody>
          <a:bodyPr/>
          <a:lstStyle>
            <a:lvl1pPr>
              <a:lnSpc>
                <a:spcPct val="100000"/>
              </a:lnSpc>
              <a:spcBef>
                <a:spcPts val="0"/>
              </a:spcBef>
              <a:defRPr sz="1200" b="0">
                <a:solidFill>
                  <a:schemeClr val="bg1"/>
                </a:solidFill>
              </a:defRPr>
            </a:lvl1pPr>
          </a:lstStyle>
          <a:p>
            <a:pPr lvl="0"/>
            <a:r>
              <a:rPr lang="en-GB" dirty="0"/>
              <a:t>Date</a:t>
            </a:r>
          </a:p>
        </p:txBody>
      </p:sp>
      <p:sp>
        <p:nvSpPr>
          <p:cNvPr id="4" name="Title 3">
            <a:extLst>
              <a:ext uri="{FF2B5EF4-FFF2-40B4-BE49-F238E27FC236}">
                <a16:creationId xmlns:a16="http://schemas.microsoft.com/office/drawing/2014/main" id="{F884C1FF-581C-0842-D9F5-293D8E12399F}"/>
              </a:ext>
            </a:extLst>
          </p:cNvPr>
          <p:cNvSpPr>
            <a:spLocks noGrp="1"/>
          </p:cNvSpPr>
          <p:nvPr>
            <p:ph type="title"/>
          </p:nvPr>
        </p:nvSpPr>
        <p:spPr>
          <a:xfrm>
            <a:off x="730675" y="1918809"/>
            <a:ext cx="3169082" cy="718145"/>
          </a:xfrm>
        </p:spPr>
        <p:txBody>
          <a:bodyPr/>
          <a:lstStyle>
            <a:lvl1pPr>
              <a:lnSpc>
                <a:spcPts val="2800"/>
              </a:lnSpc>
              <a:defRPr sz="2400" b="1">
                <a:solidFill>
                  <a:schemeClr val="bg1"/>
                </a:solidFill>
              </a:defRPr>
            </a:lvl1pPr>
          </a:lstStyle>
          <a:p>
            <a:r>
              <a:rPr lang="en-US" dirty="0"/>
              <a:t>Click to edit Master title style</a:t>
            </a:r>
            <a:endParaRPr lang="en-GB" dirty="0"/>
          </a:p>
        </p:txBody>
      </p:sp>
      <p:sp>
        <p:nvSpPr>
          <p:cNvPr id="6" name="Text Placeholder 32">
            <a:extLst>
              <a:ext uri="{FF2B5EF4-FFF2-40B4-BE49-F238E27FC236}">
                <a16:creationId xmlns:a16="http://schemas.microsoft.com/office/drawing/2014/main" id="{74A642A1-F7E7-C344-7B8C-E2D1F2240553}"/>
              </a:ext>
            </a:extLst>
          </p:cNvPr>
          <p:cNvSpPr>
            <a:spLocks noGrp="1"/>
          </p:cNvSpPr>
          <p:nvPr>
            <p:ph type="body" sz="quarter" idx="19" hasCustomPrompt="1"/>
          </p:nvPr>
        </p:nvSpPr>
        <p:spPr>
          <a:xfrm>
            <a:off x="730675" y="5744741"/>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err="1"/>
              <a:t>Loyens</a:t>
            </a:r>
            <a:r>
              <a:rPr lang="en-GB" dirty="0"/>
              <a:t> &amp; </a:t>
            </a:r>
            <a:r>
              <a:rPr lang="en-GB" dirty="0" err="1"/>
              <a:t>Loeff</a:t>
            </a:r>
            <a:r>
              <a:rPr lang="en-GB" dirty="0"/>
              <a:t> Practice Group</a:t>
            </a:r>
          </a:p>
        </p:txBody>
      </p:sp>
      <p:cxnSp>
        <p:nvCxnSpPr>
          <p:cNvPr id="7" name="Straight Connector 6">
            <a:extLst>
              <a:ext uri="{FF2B5EF4-FFF2-40B4-BE49-F238E27FC236}">
                <a16:creationId xmlns:a16="http://schemas.microsoft.com/office/drawing/2014/main" id="{C03925A0-DB7D-BEDB-9603-11EB4B4BDC34}"/>
              </a:ext>
            </a:extLst>
          </p:cNvPr>
          <p:cNvCxnSpPr>
            <a:cxnSpLocks/>
          </p:cNvCxnSpPr>
          <p:nvPr/>
        </p:nvCxnSpPr>
        <p:spPr>
          <a:xfrm>
            <a:off x="730675" y="5337212"/>
            <a:ext cx="72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CC196E0-8E84-7F44-FC27-A5457C447B20}"/>
              </a:ext>
            </a:extLst>
          </p:cNvPr>
          <p:cNvSpPr>
            <a:spLocks noGrp="1"/>
          </p:cNvSpPr>
          <p:nvPr>
            <p:ph type="ftr" sz="quarter" idx="21"/>
          </p:nvPr>
        </p:nvSpPr>
        <p:spPr>
          <a:xfrm>
            <a:off x="723076" y="5983400"/>
            <a:ext cx="3176681" cy="138498"/>
          </a:xfrm>
        </p:spPr>
        <p:txBody>
          <a:bodyPr vert="horz" wrap="square" lIns="0" tIns="0" rIns="0" bIns="0" rtlCol="0">
            <a:spAutoFit/>
          </a:bodyPr>
          <a:lstStyle>
            <a:lvl1pPr>
              <a:defRPr lang="en-GB" b="0" smtClean="0">
                <a:solidFill>
                  <a:schemeClr val="bg1"/>
                </a:solidFill>
              </a:defRPr>
            </a:lvl1pPr>
          </a:lstStyle>
          <a:p>
            <a:pPr>
              <a:buFont typeface="Arial" panose="020B0604020202020204" pitchFamily="34" charset="0"/>
              <a:buNone/>
            </a:pPr>
            <a:r>
              <a:rPr lang="nl-NL"/>
              <a:t>DMS number</a:t>
            </a:r>
            <a:endParaRPr lang="nl-NL" dirty="0"/>
          </a:p>
        </p:txBody>
      </p:sp>
    </p:spTree>
    <p:extLst>
      <p:ext uri="{BB962C8B-B14F-4D97-AF65-F5344CB8AC3E}">
        <p14:creationId xmlns:p14="http://schemas.microsoft.com/office/powerpoint/2010/main" val="3611479276"/>
      </p:ext>
    </p:extLst>
  </p:cSld>
  <p:clrMapOvr>
    <a:masterClrMapping/>
  </p:clrMapOvr>
  <p:extLst>
    <p:ext uri="{DCECCB84-F9BA-43D5-87BE-67443E8EF086}">
      <p15:sldGuideLst xmlns:p15="http://schemas.microsoft.com/office/powerpoint/2012/main">
        <p15:guide id="1" pos="461">
          <p15:clr>
            <a:srgbClr val="FBAE40"/>
          </p15:clr>
        </p15:guide>
        <p15:guide id="2" orient="horz" pos="120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37FF5685-EBD7-33AC-4D51-BC0D494F7BF0}"/>
              </a:ext>
            </a:extLst>
          </p:cNvPr>
          <p:cNvSpPr/>
          <p:nvPr/>
        </p:nvSpPr>
        <p:spPr>
          <a:xfrm>
            <a:off x="263525" y="765174"/>
            <a:ext cx="11664950" cy="58324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2" name="Titel 1"/>
          <p:cNvSpPr>
            <a:spLocks noGrp="1"/>
          </p:cNvSpPr>
          <p:nvPr>
            <p:ph type="ctrTitle" hasCustomPrompt="1"/>
          </p:nvPr>
        </p:nvSpPr>
        <p:spPr>
          <a:xfrm>
            <a:off x="736880" y="5633540"/>
            <a:ext cx="7963909" cy="553998"/>
          </a:xfrm>
        </p:spPr>
        <p:txBody>
          <a:bodyPr wrap="square" anchor="t" anchorCtr="0">
            <a:spAutoFit/>
          </a:bodyPr>
          <a:lstStyle>
            <a:lvl1pPr algn="l">
              <a:lnSpc>
                <a:spcPct val="90000"/>
              </a:lnSpc>
              <a:defRPr sz="4000">
                <a:solidFill>
                  <a:schemeClr val="bg1"/>
                </a:solidFill>
                <a:latin typeface="+mn-lt"/>
              </a:defRPr>
            </a:lvl1pPr>
          </a:lstStyle>
          <a:p>
            <a:r>
              <a:rPr lang="en-US" noProof="0" dirty="0"/>
              <a:t>Text for the end slide</a:t>
            </a:r>
            <a:endParaRPr lang="en-GB" dirty="0"/>
          </a:p>
        </p:txBody>
      </p:sp>
    </p:spTree>
    <p:extLst>
      <p:ext uri="{BB962C8B-B14F-4D97-AF65-F5344CB8AC3E}">
        <p14:creationId xmlns:p14="http://schemas.microsoft.com/office/powerpoint/2010/main" val="209254654"/>
      </p:ext>
    </p:extLst>
  </p:cSld>
  <p:clrMapOvr>
    <a:masterClrMapping/>
  </p:clrMapOvr>
  <p:extLst>
    <p:ext uri="{DCECCB84-F9BA-43D5-87BE-67443E8EF086}">
      <p15:sldGuideLst xmlns:p15="http://schemas.microsoft.com/office/powerpoint/2012/main">
        <p15:guide id="1" pos="461">
          <p15:clr>
            <a:srgbClr val="FBAE40"/>
          </p15:clr>
        </p15:guide>
        <p15:guide id="2" orient="horz" pos="354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ank you with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98606D9-1CD6-528F-0372-384F21957323}"/>
              </a:ext>
            </a:extLst>
          </p:cNvPr>
          <p:cNvSpPr>
            <a:spLocks noGrp="1"/>
          </p:cNvSpPr>
          <p:nvPr>
            <p:ph type="pic" sz="quarter" idx="13" hasCustomPrompt="1"/>
          </p:nvPr>
        </p:nvSpPr>
        <p:spPr>
          <a:xfrm>
            <a:off x="263524" y="765174"/>
            <a:ext cx="11664950" cy="5832475"/>
          </a:xfrm>
          <a:custGeom>
            <a:avLst/>
            <a:gdLst>
              <a:gd name="connsiteX0" fmla="*/ 744476 w 11664950"/>
              <a:gd name="connsiteY0" fmla="*/ 3829741 h 5832475"/>
              <a:gd name="connsiteX1" fmla="*/ 744476 w 11664950"/>
              <a:gd name="connsiteY1" fmla="*/ 5125741 h 5832475"/>
              <a:gd name="connsiteX2" fmla="*/ 7416652 w 11664950"/>
              <a:gd name="connsiteY2" fmla="*/ 5125741 h 5832475"/>
              <a:gd name="connsiteX3" fmla="*/ 7416652 w 11664950"/>
              <a:gd name="connsiteY3" fmla="*/ 3829741 h 5832475"/>
              <a:gd name="connsiteX4" fmla="*/ 0 w 11664950"/>
              <a:gd name="connsiteY4" fmla="*/ 0 h 5832475"/>
              <a:gd name="connsiteX5" fmla="*/ 11664950 w 11664950"/>
              <a:gd name="connsiteY5" fmla="*/ 0 h 5832475"/>
              <a:gd name="connsiteX6" fmla="*/ 11664950 w 11664950"/>
              <a:gd name="connsiteY6" fmla="*/ 5832475 h 5832475"/>
              <a:gd name="connsiteX7" fmla="*/ 0 w 11664950"/>
              <a:gd name="connsiteY7" fmla="*/ 5832475 h 58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4950" h="5832475">
                <a:moveTo>
                  <a:pt x="744476" y="3829741"/>
                </a:moveTo>
                <a:lnTo>
                  <a:pt x="744476" y="5125741"/>
                </a:lnTo>
                <a:lnTo>
                  <a:pt x="7416652" y="5125741"/>
                </a:lnTo>
                <a:lnTo>
                  <a:pt x="7416652" y="3829741"/>
                </a:lnTo>
                <a:close/>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2" name="Titel 1"/>
          <p:cNvSpPr>
            <a:spLocks noGrp="1"/>
          </p:cNvSpPr>
          <p:nvPr>
            <p:ph type="ctrTitle" hasCustomPrompt="1"/>
          </p:nvPr>
        </p:nvSpPr>
        <p:spPr>
          <a:xfrm>
            <a:off x="1308100" y="4861531"/>
            <a:ext cx="6048673" cy="387798"/>
          </a:xfrm>
        </p:spPr>
        <p:txBody>
          <a:bodyPr wrap="square" anchor="t" anchorCtr="0">
            <a:spAutoFit/>
          </a:bodyPr>
          <a:lstStyle>
            <a:lvl1pPr algn="l">
              <a:lnSpc>
                <a:spcPct val="90000"/>
              </a:lnSpc>
              <a:defRPr sz="2800">
                <a:solidFill>
                  <a:schemeClr val="bg2"/>
                </a:solidFill>
                <a:latin typeface="+mn-lt"/>
              </a:defRPr>
            </a:lvl1pPr>
          </a:lstStyle>
          <a:p>
            <a:r>
              <a:rPr lang="en-GB" noProof="0" dirty="0"/>
              <a:t>Text for the end slide</a:t>
            </a:r>
            <a:endParaRPr lang="en-GB" dirty="0"/>
          </a:p>
        </p:txBody>
      </p:sp>
    </p:spTree>
    <p:extLst>
      <p:ext uri="{BB962C8B-B14F-4D97-AF65-F5344CB8AC3E}">
        <p14:creationId xmlns:p14="http://schemas.microsoft.com/office/powerpoint/2010/main" val="1372037939"/>
      </p:ext>
    </p:extLst>
  </p:cSld>
  <p:clrMapOvr>
    <a:masterClrMapping/>
  </p:clrMapOvr>
  <p:extLst>
    <p:ext uri="{DCECCB84-F9BA-43D5-87BE-67443E8EF086}">
      <p15:sldGuideLst xmlns:p15="http://schemas.microsoft.com/office/powerpoint/2012/main">
        <p15:guide id="1" pos="824">
          <p15:clr>
            <a:srgbClr val="FBAE40"/>
          </p15:clr>
        </p15:guide>
        <p15:guide id="2" orient="horz" pos="306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endParaRPr lang="en-GB" dirty="0"/>
          </a:p>
        </p:txBody>
      </p:sp>
    </p:spTree>
    <p:extLst>
      <p:ext uri="{BB962C8B-B14F-4D97-AF65-F5344CB8AC3E}">
        <p14:creationId xmlns:p14="http://schemas.microsoft.com/office/powerpoint/2010/main" val="3973739143"/>
      </p:ext>
    </p:extLst>
  </p:cSld>
  <p:clrMapOvr>
    <a:masterClrMapping/>
  </p:clrMapOvr>
  <p:extLst>
    <p:ext uri="{DCECCB84-F9BA-43D5-87BE-67443E8EF086}">
      <p15:sldGuideLst xmlns:p15="http://schemas.microsoft.com/office/powerpoint/2012/main">
        <p15:guide id="3" orient="horz" pos="187">
          <p15:clr>
            <a:srgbClr val="FBAE40"/>
          </p15:clr>
        </p15:guide>
        <p15:guide id="4" pos="166">
          <p15:clr>
            <a:srgbClr val="FBAE40"/>
          </p15:clr>
        </p15:guide>
        <p15:guide id="5" pos="461">
          <p15:clr>
            <a:srgbClr val="F26B43"/>
          </p15:clr>
        </p15:guide>
        <p15:guide id="6" pos="3659">
          <p15:clr>
            <a:srgbClr val="FBAE40"/>
          </p15:clr>
        </p15:guide>
        <p15:guide id="7" pos="3840">
          <p15:clr>
            <a:srgbClr val="F26B43"/>
          </p15:clr>
        </p15:guide>
        <p15:guide id="8" pos="4021">
          <p15:clr>
            <a:srgbClr val="FBAE40"/>
          </p15:clr>
        </p15:guide>
        <p15:guide id="9" pos="7514">
          <p15:clr>
            <a:srgbClr val="FBAE40"/>
          </p15:clr>
        </p15:guide>
        <p15:guide id="10" pos="7219">
          <p15:clr>
            <a:srgbClr val="F26B43"/>
          </p15:clr>
        </p15:guide>
        <p15:guide id="12" orient="horz" pos="3929">
          <p15:clr>
            <a:srgbClr val="F26B43"/>
          </p15:clr>
        </p15:guide>
        <p15:guide id="13" orient="horz" pos="618">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40402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982663" y="1124744"/>
            <a:ext cx="4818063" cy="2041585"/>
          </a:xfr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r>
              <a:rPr lang="en-GB" noProof="0" dirty="0"/>
              <a:t> - Paragraph header</a:t>
            </a:r>
            <a:endParaRPr lang="en-GB" dirty="0"/>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dirty="0"/>
              <a:t>Sixth level</a:t>
            </a:r>
            <a:r>
              <a:rPr lang="en-GB" noProof="0" dirty="0"/>
              <a:t> - Paragraph header</a:t>
            </a:r>
            <a:endParaRPr lang="en-GB" dirty="0"/>
          </a:p>
        </p:txBody>
      </p:sp>
      <p:sp>
        <p:nvSpPr>
          <p:cNvPr id="2" name="Titel 1"/>
          <p:cNvSpPr>
            <a:spLocks noGrp="1"/>
          </p:cNvSpPr>
          <p:nvPr>
            <p:ph type="title"/>
          </p:nvPr>
        </p:nvSpPr>
        <p:spPr/>
        <p:txBody>
          <a:bodyPr/>
          <a:lstStyle>
            <a:lvl1pPr>
              <a:defRPr/>
            </a:lvl1pPr>
          </a:lstStyle>
          <a:p>
            <a:r>
              <a:rPr lang="en-GB" noProof="0" dirty="0"/>
              <a:t>Click to edit Master title style</a:t>
            </a:r>
            <a:endParaRPr lang="en-GB" dirty="0"/>
          </a:p>
        </p:txBody>
      </p:sp>
      <p:sp>
        <p:nvSpPr>
          <p:cNvPr id="9" name="Text Placeholder 7"/>
          <p:cNvSpPr>
            <a:spLocks noGrp="1"/>
          </p:cNvSpPr>
          <p:nvPr>
            <p:ph type="body" sz="quarter" idx="14" hasCustomPrompt="1"/>
          </p:nvPr>
        </p:nvSpPr>
        <p:spPr>
          <a:xfrm>
            <a:off x="6383142" y="1124744"/>
            <a:ext cx="4818063" cy="2041585"/>
          </a:xfr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r>
              <a:rPr lang="en-GB" noProof="0" dirty="0"/>
              <a:t> - Paragraph header</a:t>
            </a:r>
            <a:endParaRPr lang="en-GB" dirty="0"/>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dirty="0"/>
              <a:t>Sixth level</a:t>
            </a:r>
            <a:r>
              <a:rPr lang="en-GB" noProof="0" dirty="0"/>
              <a:t> - Paragraph header</a:t>
            </a:r>
            <a:endParaRPr lang="en-GB" dirty="0"/>
          </a:p>
        </p:txBody>
      </p:sp>
    </p:spTree>
    <p:extLst>
      <p:ext uri="{BB962C8B-B14F-4D97-AF65-F5344CB8AC3E}">
        <p14:creationId xmlns:p14="http://schemas.microsoft.com/office/powerpoint/2010/main" val="2128519413"/>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LL Covershee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id="{43B51075-4902-98B8-46C7-2168D6E0FDA2}"/>
              </a:ext>
            </a:extLst>
          </p:cNvPr>
          <p:cNvSpPr>
            <a:spLocks noGrp="1"/>
          </p:cNvSpPr>
          <p:nvPr>
            <p:ph type="pic" sz="quarter" idx="13" hasCustomPrompt="1"/>
          </p:nvPr>
        </p:nvSpPr>
        <p:spPr>
          <a:xfrm>
            <a:off x="4138727" y="980919"/>
            <a:ext cx="7792847" cy="5620148"/>
          </a:xfrm>
          <a:custGeom>
            <a:avLst/>
            <a:gdLst>
              <a:gd name="connsiteX0" fmla="*/ 503284 w 7792847"/>
              <a:gd name="connsiteY0" fmla="*/ 0 h 5620148"/>
              <a:gd name="connsiteX1" fmla="*/ 7792847 w 7792847"/>
              <a:gd name="connsiteY1" fmla="*/ 0 h 5620148"/>
              <a:gd name="connsiteX2" fmla="*/ 7792847 w 7792847"/>
              <a:gd name="connsiteY2" fmla="*/ 38451 h 5620148"/>
              <a:gd name="connsiteX3" fmla="*/ 7792847 w 7792847"/>
              <a:gd name="connsiteY3" fmla="*/ 5581697 h 5620148"/>
              <a:gd name="connsiteX4" fmla="*/ 7792847 w 7792847"/>
              <a:gd name="connsiteY4" fmla="*/ 5620148 h 5620148"/>
              <a:gd name="connsiteX5" fmla="*/ 0 w 7792847"/>
              <a:gd name="connsiteY5" fmla="*/ 5620148 h 5620148"/>
              <a:gd name="connsiteX6" fmla="*/ 0 w 7792847"/>
              <a:gd name="connsiteY6" fmla="*/ 5581697 h 5620148"/>
              <a:gd name="connsiteX7" fmla="*/ 0 w 7792847"/>
              <a:gd name="connsiteY7" fmla="*/ 538855 h 5620148"/>
              <a:gd name="connsiteX8" fmla="*/ 0 w 7792847"/>
              <a:gd name="connsiteY8" fmla="*/ 500404 h 5620148"/>
              <a:gd name="connsiteX9" fmla="*/ 503284 w 7792847"/>
              <a:gd name="connsiteY9" fmla="*/ 0 h 56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2847" h="5620148">
                <a:moveTo>
                  <a:pt x="503284" y="0"/>
                </a:moveTo>
                <a:lnTo>
                  <a:pt x="7792847" y="0"/>
                </a:lnTo>
                <a:lnTo>
                  <a:pt x="7792847" y="38451"/>
                </a:lnTo>
                <a:lnTo>
                  <a:pt x="7792847" y="5581697"/>
                </a:lnTo>
                <a:lnTo>
                  <a:pt x="7792847" y="5620148"/>
                </a:lnTo>
                <a:lnTo>
                  <a:pt x="0" y="5620148"/>
                </a:lnTo>
                <a:lnTo>
                  <a:pt x="0" y="5581697"/>
                </a:lnTo>
                <a:lnTo>
                  <a:pt x="0" y="538855"/>
                </a:lnTo>
                <a:lnTo>
                  <a:pt x="0" y="500404"/>
                </a:lnTo>
                <a:cubicBezTo>
                  <a:pt x="355" y="224035"/>
                  <a:pt x="225533" y="139"/>
                  <a:pt x="503284" y="0"/>
                </a:cubicBezTo>
                <a:close/>
              </a:path>
            </a:pathLst>
          </a:custGeom>
          <a:solidFill>
            <a:schemeClr val="bg1">
              <a:lumMod val="75000"/>
            </a:schemeClr>
          </a:solidFill>
        </p:spPr>
        <p:txBody>
          <a:bodyPr wrap="square" lIns="2304000" tIns="1368000" rIns="2304000" bIns="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7" name="Freeform: Shape 36">
            <a:extLst>
              <a:ext uri="{FF2B5EF4-FFF2-40B4-BE49-F238E27FC236}">
                <a16:creationId xmlns:a16="http://schemas.microsoft.com/office/drawing/2014/main" id="{391A9510-5722-C883-E5EF-4AEB5DA23647}"/>
              </a:ext>
            </a:extLst>
          </p:cNvPr>
          <p:cNvSpPr/>
          <p:nvPr userDrawn="1"/>
        </p:nvSpPr>
        <p:spPr>
          <a:xfrm>
            <a:off x="263506" y="980997"/>
            <a:ext cx="3877301" cy="5620071"/>
          </a:xfrm>
          <a:custGeom>
            <a:avLst/>
            <a:gdLst>
              <a:gd name="connsiteX0" fmla="*/ 0 w 3877301"/>
              <a:gd name="connsiteY0" fmla="*/ 0 h 5620071"/>
              <a:gd name="connsiteX1" fmla="*/ 3374528 w 3877301"/>
              <a:gd name="connsiteY1" fmla="*/ 0 h 5620071"/>
              <a:gd name="connsiteX2" fmla="*/ 3877301 w 3877301"/>
              <a:gd name="connsiteY2" fmla="*/ 500404 h 5620071"/>
              <a:gd name="connsiteX3" fmla="*/ 3877301 w 3877301"/>
              <a:gd name="connsiteY3" fmla="*/ 538778 h 5620071"/>
              <a:gd name="connsiteX4" fmla="*/ 3877301 w 3877301"/>
              <a:gd name="connsiteY4" fmla="*/ 5581697 h 5620071"/>
              <a:gd name="connsiteX5" fmla="*/ 3877301 w 3877301"/>
              <a:gd name="connsiteY5" fmla="*/ 5620071 h 5620071"/>
              <a:gd name="connsiteX6" fmla="*/ 502646 w 3877301"/>
              <a:gd name="connsiteY6" fmla="*/ 5620071 h 5620071"/>
              <a:gd name="connsiteX7" fmla="*/ 0 w 3877301"/>
              <a:gd name="connsiteY7" fmla="*/ 5119036 h 5620071"/>
              <a:gd name="connsiteX8" fmla="*/ 0 w 3877301"/>
              <a:gd name="connsiteY8" fmla="*/ 5080662 h 5620071"/>
              <a:gd name="connsiteX9" fmla="*/ 0 w 3877301"/>
              <a:gd name="connsiteY9" fmla="*/ 38374 h 562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7301" h="5620071">
                <a:moveTo>
                  <a:pt x="0" y="0"/>
                </a:moveTo>
                <a:lnTo>
                  <a:pt x="3374528" y="0"/>
                </a:lnTo>
                <a:cubicBezTo>
                  <a:pt x="3651965" y="-140"/>
                  <a:pt x="3877022" y="223859"/>
                  <a:pt x="3877301" y="500404"/>
                </a:cubicBezTo>
                <a:lnTo>
                  <a:pt x="3877301" y="538778"/>
                </a:lnTo>
                <a:lnTo>
                  <a:pt x="3877301" y="5581697"/>
                </a:lnTo>
                <a:lnTo>
                  <a:pt x="3877301" y="5620071"/>
                </a:lnTo>
                <a:lnTo>
                  <a:pt x="502646" y="5620071"/>
                </a:lnTo>
                <a:cubicBezTo>
                  <a:pt x="225042" y="5620071"/>
                  <a:pt x="0" y="5395748"/>
                  <a:pt x="0" y="5119036"/>
                </a:cubicBezTo>
                <a:lnTo>
                  <a:pt x="0" y="5080662"/>
                </a:lnTo>
                <a:lnTo>
                  <a:pt x="0" y="38374"/>
                </a:lnTo>
                <a:close/>
              </a:path>
            </a:pathLst>
          </a:custGeom>
          <a:gradFill>
            <a:gsLst>
              <a:gs pos="0">
                <a:srgbClr val="0078B6"/>
              </a:gs>
              <a:gs pos="100000">
                <a:schemeClr val="bg2"/>
              </a:gs>
            </a:gsLst>
            <a:lin ang="5400000" scaled="1"/>
          </a:gradFill>
          <a:ln w="12638" cap="flat">
            <a:noFill/>
            <a:prstDash val="solid"/>
            <a:miter/>
          </a:ln>
        </p:spPr>
        <p:txBody>
          <a:bodyPr rtlCol="0" anchor="ctr"/>
          <a:lstStyle/>
          <a:p>
            <a:endParaRPr lang="en-GB" dirty="0"/>
          </a:p>
        </p:txBody>
      </p:sp>
      <p:sp>
        <p:nvSpPr>
          <p:cNvPr id="3" name="Ondertitel 2"/>
          <p:cNvSpPr>
            <a:spLocks noGrp="1"/>
          </p:cNvSpPr>
          <p:nvPr>
            <p:ph type="subTitle" idx="1" hasCustomPrompt="1"/>
          </p:nvPr>
        </p:nvSpPr>
        <p:spPr>
          <a:xfrm>
            <a:off x="730675" y="3156632"/>
            <a:ext cx="3169081" cy="215444"/>
          </a:xfrm>
          <a:prstGeom prst="rect">
            <a:avLst/>
          </a:prstGeom>
        </p:spPr>
        <p:txBody>
          <a:bodyPr wrap="square" anchor="t" anchorCtr="0">
            <a:spAutoFit/>
          </a:bodyPr>
          <a:lstStyle>
            <a:lvl1pPr marL="0" indent="0" algn="l">
              <a:lnSpc>
                <a:spcPct val="100000"/>
              </a:lnSpc>
              <a:spcBef>
                <a:spcPts val="0"/>
              </a:spcBef>
              <a:buNone/>
              <a:defRPr sz="1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Sub title style</a:t>
            </a:r>
            <a:endParaRPr lang="en-GB" dirty="0"/>
          </a:p>
        </p:txBody>
      </p:sp>
      <p:sp>
        <p:nvSpPr>
          <p:cNvPr id="33" name="Text Placeholder 32"/>
          <p:cNvSpPr>
            <a:spLocks noGrp="1"/>
          </p:cNvSpPr>
          <p:nvPr>
            <p:ph type="body" sz="quarter" idx="14" hasCustomPrompt="1"/>
          </p:nvPr>
        </p:nvSpPr>
        <p:spPr>
          <a:xfrm>
            <a:off x="730675" y="5506082"/>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a:t>Name </a:t>
            </a:r>
            <a:r>
              <a:rPr lang="en-GB" dirty="0" err="1"/>
              <a:t>presentor</a:t>
            </a:r>
            <a:r>
              <a:rPr lang="en-GB" dirty="0"/>
              <a:t>(s)</a:t>
            </a:r>
          </a:p>
        </p:txBody>
      </p:sp>
      <p:grpSp>
        <p:nvGrpSpPr>
          <p:cNvPr id="10" name="Group 9">
            <a:extLst>
              <a:ext uri="{FF2B5EF4-FFF2-40B4-BE49-F238E27FC236}">
                <a16:creationId xmlns:a16="http://schemas.microsoft.com/office/drawing/2014/main" id="{DD0F3853-5A1D-DAC4-3918-11AC27A1A23D}"/>
              </a:ext>
            </a:extLst>
          </p:cNvPr>
          <p:cNvGrpSpPr/>
          <p:nvPr userDrawn="1"/>
        </p:nvGrpSpPr>
        <p:grpSpPr>
          <a:xfrm>
            <a:off x="740197" y="277699"/>
            <a:ext cx="2003339" cy="504460"/>
            <a:chOff x="756000" y="277699"/>
            <a:chExt cx="2003339" cy="504460"/>
          </a:xfrm>
        </p:grpSpPr>
        <p:grpSp>
          <p:nvGrpSpPr>
            <p:cNvPr id="11" name="Graphic 3">
              <a:extLst>
                <a:ext uri="{FF2B5EF4-FFF2-40B4-BE49-F238E27FC236}">
                  <a16:creationId xmlns:a16="http://schemas.microsoft.com/office/drawing/2014/main" id="{5A939B7B-93C4-1864-4488-C70AF692FABC}"/>
                </a:ext>
              </a:extLst>
            </p:cNvPr>
            <p:cNvGrpSpPr/>
            <p:nvPr/>
          </p:nvGrpSpPr>
          <p:grpSpPr>
            <a:xfrm>
              <a:off x="756000" y="277699"/>
              <a:ext cx="2003339" cy="317260"/>
              <a:chOff x="756000" y="277699"/>
              <a:chExt cx="2003339" cy="317260"/>
            </a:xfrm>
            <a:solidFill>
              <a:srgbClr val="06357A"/>
            </a:solidFill>
          </p:grpSpPr>
          <p:sp>
            <p:nvSpPr>
              <p:cNvPr id="20" name="Freeform: Shape 19">
                <a:extLst>
                  <a:ext uri="{FF2B5EF4-FFF2-40B4-BE49-F238E27FC236}">
                    <a16:creationId xmlns:a16="http://schemas.microsoft.com/office/drawing/2014/main" id="{CD918745-4D52-E465-CB0D-F7E8B6BE9552}"/>
                  </a:ext>
                </a:extLst>
              </p:cNvPr>
              <p:cNvSpPr/>
              <p:nvPr/>
            </p:nvSpPr>
            <p:spPr>
              <a:xfrm>
                <a:off x="1749419" y="277699"/>
                <a:ext cx="204419" cy="317260"/>
              </a:xfrm>
              <a:custGeom>
                <a:avLst/>
                <a:gdLst>
                  <a:gd name="connsiteX0" fmla="*/ 182820 w 204419"/>
                  <a:gd name="connsiteY0" fmla="*/ 300101 h 317260"/>
                  <a:gd name="connsiteX1" fmla="*/ 69060 w 204419"/>
                  <a:gd name="connsiteY1" fmla="*/ 300101 h 317260"/>
                  <a:gd name="connsiteX2" fmla="*/ 69300 w 204419"/>
                  <a:gd name="connsiteY2" fmla="*/ 297761 h 317260"/>
                  <a:gd name="connsiteX3" fmla="*/ 85740 w 204419"/>
                  <a:gd name="connsiteY3" fmla="*/ 195461 h 317260"/>
                  <a:gd name="connsiteX4" fmla="*/ 102840 w 204419"/>
                  <a:gd name="connsiteY4" fmla="*/ 176141 h 317260"/>
                  <a:gd name="connsiteX5" fmla="*/ 85560 w 204419"/>
                  <a:gd name="connsiteY5" fmla="*/ 285401 h 317260"/>
                  <a:gd name="connsiteX6" fmla="*/ 85440 w 204419"/>
                  <a:gd name="connsiteY6" fmla="*/ 286541 h 317260"/>
                  <a:gd name="connsiteX7" fmla="*/ 93960 w 204419"/>
                  <a:gd name="connsiteY7" fmla="*/ 286541 h 317260"/>
                  <a:gd name="connsiteX8" fmla="*/ 93960 w 204419"/>
                  <a:gd name="connsiteY8" fmla="*/ 286721 h 317260"/>
                  <a:gd name="connsiteX9" fmla="*/ 184620 w 204419"/>
                  <a:gd name="connsiteY9" fmla="*/ 286721 h 317260"/>
                  <a:gd name="connsiteX10" fmla="*/ 182820 w 204419"/>
                  <a:gd name="connsiteY10" fmla="*/ 300101 h 317260"/>
                  <a:gd name="connsiteX11" fmla="*/ 136920 w 204419"/>
                  <a:gd name="connsiteY11" fmla="*/ 66101 h 317260"/>
                  <a:gd name="connsiteX12" fmla="*/ 138060 w 204419"/>
                  <a:gd name="connsiteY12" fmla="*/ 61601 h 317260"/>
                  <a:gd name="connsiteX13" fmla="*/ 172980 w 204419"/>
                  <a:gd name="connsiteY13" fmla="*/ 5501 h 317260"/>
                  <a:gd name="connsiteX14" fmla="*/ 190140 w 204419"/>
                  <a:gd name="connsiteY14" fmla="*/ 12581 h 317260"/>
                  <a:gd name="connsiteX15" fmla="*/ 129360 w 204419"/>
                  <a:gd name="connsiteY15" fmla="*/ 135101 h 317260"/>
                  <a:gd name="connsiteX16" fmla="*/ 124920 w 204419"/>
                  <a:gd name="connsiteY16" fmla="*/ 139421 h 317260"/>
                  <a:gd name="connsiteX17" fmla="*/ 136920 w 204419"/>
                  <a:gd name="connsiteY17" fmla="*/ 66101 h 317260"/>
                  <a:gd name="connsiteX18" fmla="*/ 104880 w 204419"/>
                  <a:gd name="connsiteY18" fmla="*/ 269501 h 317260"/>
                  <a:gd name="connsiteX19" fmla="*/ 123420 w 204419"/>
                  <a:gd name="connsiteY19" fmla="*/ 152861 h 317260"/>
                  <a:gd name="connsiteX20" fmla="*/ 130020 w 204419"/>
                  <a:gd name="connsiteY20" fmla="*/ 145061 h 317260"/>
                  <a:gd name="connsiteX21" fmla="*/ 193860 w 204419"/>
                  <a:gd name="connsiteY21" fmla="*/ 11201 h 317260"/>
                  <a:gd name="connsiteX22" fmla="*/ 171000 w 204419"/>
                  <a:gd name="connsiteY22" fmla="*/ 2141 h 317260"/>
                  <a:gd name="connsiteX23" fmla="*/ 130800 w 204419"/>
                  <a:gd name="connsiteY23" fmla="*/ 51461 h 317260"/>
                  <a:gd name="connsiteX24" fmla="*/ 127620 w 204419"/>
                  <a:gd name="connsiteY24" fmla="*/ 59141 h 317260"/>
                  <a:gd name="connsiteX25" fmla="*/ 106860 w 204419"/>
                  <a:gd name="connsiteY25" fmla="*/ 150341 h 317260"/>
                  <a:gd name="connsiteX26" fmla="*/ 105900 w 204419"/>
                  <a:gd name="connsiteY26" fmla="*/ 156281 h 317260"/>
                  <a:gd name="connsiteX27" fmla="*/ 88980 w 204419"/>
                  <a:gd name="connsiteY27" fmla="*/ 175361 h 317260"/>
                  <a:gd name="connsiteX28" fmla="*/ 103140 w 204419"/>
                  <a:gd name="connsiteY28" fmla="*/ 87341 h 317260"/>
                  <a:gd name="connsiteX29" fmla="*/ 69180 w 204419"/>
                  <a:gd name="connsiteY29" fmla="*/ 87341 h 317260"/>
                  <a:gd name="connsiteX30" fmla="*/ 68400 w 204419"/>
                  <a:gd name="connsiteY30" fmla="*/ 91181 h 317260"/>
                  <a:gd name="connsiteX31" fmla="*/ 79320 w 204419"/>
                  <a:gd name="connsiteY31" fmla="*/ 91541 h 317260"/>
                  <a:gd name="connsiteX32" fmla="*/ 84300 w 204419"/>
                  <a:gd name="connsiteY32" fmla="*/ 95861 h 317260"/>
                  <a:gd name="connsiteX33" fmla="*/ 84240 w 204419"/>
                  <a:gd name="connsiteY33" fmla="*/ 98441 h 317260"/>
                  <a:gd name="connsiteX34" fmla="*/ 68100 w 204419"/>
                  <a:gd name="connsiteY34" fmla="*/ 198821 h 317260"/>
                  <a:gd name="connsiteX35" fmla="*/ 3360 w 204419"/>
                  <a:gd name="connsiteY35" fmla="*/ 272021 h 317260"/>
                  <a:gd name="connsiteX36" fmla="*/ 0 w 204419"/>
                  <a:gd name="connsiteY36" fmla="*/ 292241 h 317260"/>
                  <a:gd name="connsiteX37" fmla="*/ 64920 w 204419"/>
                  <a:gd name="connsiteY37" fmla="*/ 218921 h 317260"/>
                  <a:gd name="connsiteX38" fmla="*/ 49080 w 204419"/>
                  <a:gd name="connsiteY38" fmla="*/ 317201 h 317260"/>
                  <a:gd name="connsiteX39" fmla="*/ 197880 w 204419"/>
                  <a:gd name="connsiteY39" fmla="*/ 317261 h 317260"/>
                  <a:gd name="connsiteX40" fmla="*/ 204420 w 204419"/>
                  <a:gd name="connsiteY40" fmla="*/ 269441 h 317260"/>
                  <a:gd name="connsiteX41" fmla="*/ 104880 w 204419"/>
                  <a:gd name="connsiteY41" fmla="*/ 269441 h 3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4419" h="317260">
                    <a:moveTo>
                      <a:pt x="182820" y="300101"/>
                    </a:moveTo>
                    <a:lnTo>
                      <a:pt x="69060" y="300101"/>
                    </a:lnTo>
                    <a:cubicBezTo>
                      <a:pt x="69060" y="299741"/>
                      <a:pt x="69420" y="297761"/>
                      <a:pt x="69300" y="297761"/>
                    </a:cubicBezTo>
                    <a:lnTo>
                      <a:pt x="85740" y="195461"/>
                    </a:lnTo>
                    <a:lnTo>
                      <a:pt x="102840" y="176141"/>
                    </a:lnTo>
                    <a:lnTo>
                      <a:pt x="85560" y="285401"/>
                    </a:lnTo>
                    <a:cubicBezTo>
                      <a:pt x="85500" y="285701"/>
                      <a:pt x="85500" y="286181"/>
                      <a:pt x="85440" y="286541"/>
                    </a:cubicBezTo>
                    <a:lnTo>
                      <a:pt x="93960" y="286541"/>
                    </a:lnTo>
                    <a:lnTo>
                      <a:pt x="93960" y="286721"/>
                    </a:lnTo>
                    <a:lnTo>
                      <a:pt x="184620" y="286721"/>
                    </a:lnTo>
                    <a:lnTo>
                      <a:pt x="182820" y="300101"/>
                    </a:lnTo>
                    <a:close/>
                    <a:moveTo>
                      <a:pt x="136920" y="66101"/>
                    </a:moveTo>
                    <a:lnTo>
                      <a:pt x="138060" y="61601"/>
                    </a:lnTo>
                    <a:cubicBezTo>
                      <a:pt x="141420" y="46361"/>
                      <a:pt x="156900" y="12401"/>
                      <a:pt x="172980" y="5501"/>
                    </a:cubicBezTo>
                    <a:cubicBezTo>
                      <a:pt x="181020" y="2021"/>
                      <a:pt x="186420" y="3881"/>
                      <a:pt x="190140" y="12581"/>
                    </a:cubicBezTo>
                    <a:cubicBezTo>
                      <a:pt x="200700" y="37001"/>
                      <a:pt x="171540" y="94001"/>
                      <a:pt x="129360" y="135101"/>
                    </a:cubicBezTo>
                    <a:cubicBezTo>
                      <a:pt x="128940" y="135701"/>
                      <a:pt x="124920" y="139961"/>
                      <a:pt x="124920" y="139421"/>
                    </a:cubicBezTo>
                    <a:cubicBezTo>
                      <a:pt x="128580" y="118481"/>
                      <a:pt x="131580" y="90101"/>
                      <a:pt x="136920" y="66101"/>
                    </a:cubicBezTo>
                    <a:moveTo>
                      <a:pt x="104880" y="269501"/>
                    </a:moveTo>
                    <a:lnTo>
                      <a:pt x="123420" y="152861"/>
                    </a:lnTo>
                    <a:cubicBezTo>
                      <a:pt x="123420" y="152861"/>
                      <a:pt x="128880" y="146201"/>
                      <a:pt x="130020" y="145061"/>
                    </a:cubicBezTo>
                    <a:cubicBezTo>
                      <a:pt x="169020" y="104561"/>
                      <a:pt x="207540" y="42701"/>
                      <a:pt x="193860" y="11201"/>
                    </a:cubicBezTo>
                    <a:cubicBezTo>
                      <a:pt x="189300" y="581"/>
                      <a:pt x="181920" y="-2599"/>
                      <a:pt x="171000" y="2141"/>
                    </a:cubicBezTo>
                    <a:cubicBezTo>
                      <a:pt x="153000" y="9941"/>
                      <a:pt x="136980" y="35501"/>
                      <a:pt x="130800" y="51461"/>
                    </a:cubicBezTo>
                    <a:cubicBezTo>
                      <a:pt x="131100" y="50621"/>
                      <a:pt x="129180" y="55361"/>
                      <a:pt x="127620" y="59141"/>
                    </a:cubicBezTo>
                    <a:cubicBezTo>
                      <a:pt x="115860" y="88301"/>
                      <a:pt x="112260" y="120521"/>
                      <a:pt x="106860" y="150341"/>
                    </a:cubicBezTo>
                    <a:cubicBezTo>
                      <a:pt x="106500" y="152501"/>
                      <a:pt x="106200" y="154421"/>
                      <a:pt x="105900" y="156281"/>
                    </a:cubicBezTo>
                    <a:lnTo>
                      <a:pt x="88980" y="175361"/>
                    </a:lnTo>
                    <a:lnTo>
                      <a:pt x="103140" y="87341"/>
                    </a:lnTo>
                    <a:lnTo>
                      <a:pt x="69180" y="87341"/>
                    </a:lnTo>
                    <a:lnTo>
                      <a:pt x="68400" y="91181"/>
                    </a:lnTo>
                    <a:cubicBezTo>
                      <a:pt x="68400" y="91181"/>
                      <a:pt x="74700" y="91001"/>
                      <a:pt x="79320" y="91541"/>
                    </a:cubicBezTo>
                    <a:cubicBezTo>
                      <a:pt x="82920" y="91961"/>
                      <a:pt x="84000" y="94721"/>
                      <a:pt x="84300" y="95861"/>
                    </a:cubicBezTo>
                    <a:cubicBezTo>
                      <a:pt x="84540" y="96701"/>
                      <a:pt x="84240" y="98441"/>
                      <a:pt x="84240" y="98441"/>
                    </a:cubicBezTo>
                    <a:lnTo>
                      <a:pt x="68100" y="198821"/>
                    </a:lnTo>
                    <a:lnTo>
                      <a:pt x="3360" y="272021"/>
                    </a:lnTo>
                    <a:lnTo>
                      <a:pt x="0" y="292241"/>
                    </a:lnTo>
                    <a:lnTo>
                      <a:pt x="64920" y="218921"/>
                    </a:lnTo>
                    <a:lnTo>
                      <a:pt x="49080" y="317201"/>
                    </a:lnTo>
                    <a:lnTo>
                      <a:pt x="197880" y="317261"/>
                    </a:lnTo>
                    <a:lnTo>
                      <a:pt x="204420" y="269441"/>
                    </a:lnTo>
                    <a:lnTo>
                      <a:pt x="104880" y="269441"/>
                    </a:lnTo>
                    <a:close/>
                  </a:path>
                </a:pathLst>
              </a:custGeom>
              <a:solidFill>
                <a:srgbClr val="06357A"/>
              </a:solidFill>
              <a:ln w="5989"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0C67B687-C3C4-2FE7-F350-D9FA9EEE522D}"/>
                  </a:ext>
                </a:extLst>
              </p:cNvPr>
              <p:cNvSpPr/>
              <p:nvPr/>
            </p:nvSpPr>
            <p:spPr>
              <a:xfrm>
                <a:off x="2018519" y="400019"/>
                <a:ext cx="101459" cy="160679"/>
              </a:xfrm>
              <a:custGeom>
                <a:avLst/>
                <a:gdLst>
                  <a:gd name="connsiteX0" fmla="*/ 0 w 101459"/>
                  <a:gd name="connsiteY0" fmla="*/ 160680 h 160679"/>
                  <a:gd name="connsiteX1" fmla="*/ 0 w 101459"/>
                  <a:gd name="connsiteY1" fmla="*/ 0 h 160679"/>
                  <a:gd name="connsiteX2" fmla="*/ 25500 w 101459"/>
                  <a:gd name="connsiteY2" fmla="*/ 0 h 160679"/>
                  <a:gd name="connsiteX3" fmla="*/ 25500 w 101459"/>
                  <a:gd name="connsiteY3" fmla="*/ 139500 h 160679"/>
                  <a:gd name="connsiteX4" fmla="*/ 101460 w 101459"/>
                  <a:gd name="connsiteY4" fmla="*/ 139500 h 160679"/>
                  <a:gd name="connsiteX5" fmla="*/ 101460 w 101459"/>
                  <a:gd name="connsiteY5"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59" h="160679">
                    <a:moveTo>
                      <a:pt x="0" y="160680"/>
                    </a:moveTo>
                    <a:lnTo>
                      <a:pt x="0" y="0"/>
                    </a:lnTo>
                    <a:lnTo>
                      <a:pt x="25500" y="0"/>
                    </a:lnTo>
                    <a:lnTo>
                      <a:pt x="25500" y="139500"/>
                    </a:lnTo>
                    <a:lnTo>
                      <a:pt x="101460" y="139500"/>
                    </a:lnTo>
                    <a:lnTo>
                      <a:pt x="101460" y="160680"/>
                    </a:lnTo>
                    <a:close/>
                  </a:path>
                </a:pathLst>
              </a:custGeom>
              <a:solidFill>
                <a:srgbClr val="06357A"/>
              </a:solidFill>
              <a:ln w="5989"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C595ECAC-AB77-752E-F059-5043FD6EA5F5}"/>
                  </a:ext>
                </a:extLst>
              </p:cNvPr>
              <p:cNvSpPr/>
              <p:nvPr/>
            </p:nvSpPr>
            <p:spPr>
              <a:xfrm>
                <a:off x="213575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2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44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1573FD05-D334-74F3-38ED-95BF84BAEF63}"/>
                  </a:ext>
                </a:extLst>
              </p:cNvPr>
              <p:cNvSpPr/>
              <p:nvPr/>
            </p:nvSpPr>
            <p:spPr>
              <a:xfrm>
                <a:off x="2363039" y="400019"/>
                <a:ext cx="101520" cy="160679"/>
              </a:xfrm>
              <a:custGeom>
                <a:avLst/>
                <a:gdLst>
                  <a:gd name="connsiteX0" fmla="*/ 0 w 101520"/>
                  <a:gd name="connsiteY0" fmla="*/ 160680 h 160679"/>
                  <a:gd name="connsiteX1" fmla="*/ 0 w 101520"/>
                  <a:gd name="connsiteY1" fmla="*/ 0 h 160679"/>
                  <a:gd name="connsiteX2" fmla="*/ 99480 w 101520"/>
                  <a:gd name="connsiteY2" fmla="*/ 0 h 160679"/>
                  <a:gd name="connsiteX3" fmla="*/ 99480 w 101520"/>
                  <a:gd name="connsiteY3" fmla="*/ 21180 h 160679"/>
                  <a:gd name="connsiteX4" fmla="*/ 25560 w 101520"/>
                  <a:gd name="connsiteY4" fmla="*/ 21180 h 160679"/>
                  <a:gd name="connsiteX5" fmla="*/ 25560 w 101520"/>
                  <a:gd name="connsiteY5" fmla="*/ 67560 h 160679"/>
                  <a:gd name="connsiteX6" fmla="*/ 86700 w 101520"/>
                  <a:gd name="connsiteY6" fmla="*/ 67560 h 160679"/>
                  <a:gd name="connsiteX7" fmla="*/ 86700 w 101520"/>
                  <a:gd name="connsiteY7" fmla="*/ 88740 h 160679"/>
                  <a:gd name="connsiteX8" fmla="*/ 25560 w 101520"/>
                  <a:gd name="connsiteY8" fmla="*/ 88740 h 160679"/>
                  <a:gd name="connsiteX9" fmla="*/ 25560 w 101520"/>
                  <a:gd name="connsiteY9" fmla="*/ 139500 h 160679"/>
                  <a:gd name="connsiteX10" fmla="*/ 101520 w 101520"/>
                  <a:gd name="connsiteY10" fmla="*/ 139500 h 160679"/>
                  <a:gd name="connsiteX11" fmla="*/ 101520 w 101520"/>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20" h="160679">
                    <a:moveTo>
                      <a:pt x="0" y="160680"/>
                    </a:moveTo>
                    <a:lnTo>
                      <a:pt x="0" y="0"/>
                    </a:lnTo>
                    <a:lnTo>
                      <a:pt x="99480" y="0"/>
                    </a:lnTo>
                    <a:lnTo>
                      <a:pt x="99480" y="21180"/>
                    </a:lnTo>
                    <a:lnTo>
                      <a:pt x="25560" y="21180"/>
                    </a:lnTo>
                    <a:lnTo>
                      <a:pt x="25560" y="67560"/>
                    </a:lnTo>
                    <a:lnTo>
                      <a:pt x="86700" y="67560"/>
                    </a:lnTo>
                    <a:lnTo>
                      <a:pt x="8670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69898778-BF5F-7934-E79E-45A6221CB45A}"/>
                  </a:ext>
                </a:extLst>
              </p:cNvPr>
              <p:cNvSpPr/>
              <p:nvPr/>
            </p:nvSpPr>
            <p:spPr>
              <a:xfrm>
                <a:off x="2513939" y="400019"/>
                <a:ext cx="99539" cy="160679"/>
              </a:xfrm>
              <a:custGeom>
                <a:avLst/>
                <a:gdLst>
                  <a:gd name="connsiteX0" fmla="*/ 25560 w 99539"/>
                  <a:gd name="connsiteY0" fmla="*/ 21180 h 160679"/>
                  <a:gd name="connsiteX1" fmla="*/ 25560 w 99539"/>
                  <a:gd name="connsiteY1" fmla="*/ 69900 h 160679"/>
                  <a:gd name="connsiteX2" fmla="*/ 86760 w 99539"/>
                  <a:gd name="connsiteY2" fmla="*/ 69900 h 160679"/>
                  <a:gd name="connsiteX3" fmla="*/ 86760 w 99539"/>
                  <a:gd name="connsiteY3" fmla="*/ 91080 h 160679"/>
                  <a:gd name="connsiteX4" fmla="*/ 25560 w 99539"/>
                  <a:gd name="connsiteY4" fmla="*/ 91080 h 160679"/>
                  <a:gd name="connsiteX5" fmla="*/ 25560 w 99539"/>
                  <a:gd name="connsiteY5" fmla="*/ 160680 h 160679"/>
                  <a:gd name="connsiteX6" fmla="*/ 0 w 99539"/>
                  <a:gd name="connsiteY6" fmla="*/ 160680 h 160679"/>
                  <a:gd name="connsiteX7" fmla="*/ 0 w 99539"/>
                  <a:gd name="connsiteY7" fmla="*/ 0 h 160679"/>
                  <a:gd name="connsiteX8" fmla="*/ 99540 w 99539"/>
                  <a:gd name="connsiteY8" fmla="*/ 0 h 160679"/>
                  <a:gd name="connsiteX9" fmla="*/ 99540 w 99539"/>
                  <a:gd name="connsiteY9" fmla="*/ 211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9" h="160679">
                    <a:moveTo>
                      <a:pt x="25560" y="21180"/>
                    </a:moveTo>
                    <a:lnTo>
                      <a:pt x="25560" y="69900"/>
                    </a:lnTo>
                    <a:lnTo>
                      <a:pt x="86760" y="69900"/>
                    </a:lnTo>
                    <a:lnTo>
                      <a:pt x="86760" y="91080"/>
                    </a:lnTo>
                    <a:lnTo>
                      <a:pt x="25560" y="91080"/>
                    </a:lnTo>
                    <a:lnTo>
                      <a:pt x="25560" y="160680"/>
                    </a:lnTo>
                    <a:lnTo>
                      <a:pt x="0" y="160680"/>
                    </a:lnTo>
                    <a:lnTo>
                      <a:pt x="0" y="0"/>
                    </a:lnTo>
                    <a:lnTo>
                      <a:pt x="99540" y="0"/>
                    </a:lnTo>
                    <a:lnTo>
                      <a:pt x="99540" y="21180"/>
                    </a:lnTo>
                    <a:close/>
                  </a:path>
                </a:pathLst>
              </a:custGeom>
              <a:solidFill>
                <a:srgbClr val="06357A"/>
              </a:solidFill>
              <a:ln w="5989"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56E00579-020E-A2C6-625B-A3E70C239C13}"/>
                  </a:ext>
                </a:extLst>
              </p:cNvPr>
              <p:cNvSpPr/>
              <p:nvPr/>
            </p:nvSpPr>
            <p:spPr>
              <a:xfrm>
                <a:off x="2659859" y="400019"/>
                <a:ext cx="99480" cy="160679"/>
              </a:xfrm>
              <a:custGeom>
                <a:avLst/>
                <a:gdLst>
                  <a:gd name="connsiteX0" fmla="*/ 0 w 99480"/>
                  <a:gd name="connsiteY0" fmla="*/ 0 h 160679"/>
                  <a:gd name="connsiteX1" fmla="*/ 0 w 99480"/>
                  <a:gd name="connsiteY1" fmla="*/ 160680 h 160679"/>
                  <a:gd name="connsiteX2" fmla="*/ 25560 w 99480"/>
                  <a:gd name="connsiteY2" fmla="*/ 160680 h 160679"/>
                  <a:gd name="connsiteX3" fmla="*/ 25560 w 99480"/>
                  <a:gd name="connsiteY3" fmla="*/ 91080 h 160679"/>
                  <a:gd name="connsiteX4" fmla="*/ 86700 w 99480"/>
                  <a:gd name="connsiteY4" fmla="*/ 91080 h 160679"/>
                  <a:gd name="connsiteX5" fmla="*/ 86700 w 99480"/>
                  <a:gd name="connsiteY5" fmla="*/ 69900 h 160679"/>
                  <a:gd name="connsiteX6" fmla="*/ 25560 w 99480"/>
                  <a:gd name="connsiteY6" fmla="*/ 69900 h 160679"/>
                  <a:gd name="connsiteX7" fmla="*/ 25560 w 99480"/>
                  <a:gd name="connsiteY7" fmla="*/ 21180 h 160679"/>
                  <a:gd name="connsiteX8" fmla="*/ 99480 w 99480"/>
                  <a:gd name="connsiteY8" fmla="*/ 21180 h 160679"/>
                  <a:gd name="connsiteX9" fmla="*/ 99480 w 99480"/>
                  <a:gd name="connsiteY9"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0" h="160679">
                    <a:moveTo>
                      <a:pt x="0" y="0"/>
                    </a:moveTo>
                    <a:lnTo>
                      <a:pt x="0" y="160680"/>
                    </a:lnTo>
                    <a:lnTo>
                      <a:pt x="25560" y="160680"/>
                    </a:lnTo>
                    <a:lnTo>
                      <a:pt x="25560" y="91080"/>
                    </a:lnTo>
                    <a:lnTo>
                      <a:pt x="86700" y="91080"/>
                    </a:lnTo>
                    <a:lnTo>
                      <a:pt x="86700" y="69900"/>
                    </a:lnTo>
                    <a:lnTo>
                      <a:pt x="25560" y="69900"/>
                    </a:lnTo>
                    <a:lnTo>
                      <a:pt x="25560" y="21180"/>
                    </a:lnTo>
                    <a:lnTo>
                      <a:pt x="99480" y="21180"/>
                    </a:lnTo>
                    <a:lnTo>
                      <a:pt x="99480" y="0"/>
                    </a:lnTo>
                    <a:close/>
                  </a:path>
                </a:pathLst>
              </a:custGeom>
              <a:solidFill>
                <a:srgbClr val="06357A"/>
              </a:solidFill>
              <a:ln w="59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10212525-01E8-B272-F017-CBCFF915FFCB}"/>
                  </a:ext>
                </a:extLst>
              </p:cNvPr>
              <p:cNvSpPr/>
              <p:nvPr/>
            </p:nvSpPr>
            <p:spPr>
              <a:xfrm>
                <a:off x="756000" y="400019"/>
                <a:ext cx="101519" cy="160679"/>
              </a:xfrm>
              <a:custGeom>
                <a:avLst/>
                <a:gdLst>
                  <a:gd name="connsiteX0" fmla="*/ 0 w 101519"/>
                  <a:gd name="connsiteY0" fmla="*/ 0 h 160679"/>
                  <a:gd name="connsiteX1" fmla="*/ 0 w 101519"/>
                  <a:gd name="connsiteY1" fmla="*/ 160680 h 160679"/>
                  <a:gd name="connsiteX2" fmla="*/ 101520 w 101519"/>
                  <a:gd name="connsiteY2" fmla="*/ 160680 h 160679"/>
                  <a:gd name="connsiteX3" fmla="*/ 101520 w 101519"/>
                  <a:gd name="connsiteY3" fmla="*/ 139500 h 160679"/>
                  <a:gd name="connsiteX4" fmla="*/ 25560 w 101519"/>
                  <a:gd name="connsiteY4" fmla="*/ 139500 h 160679"/>
                  <a:gd name="connsiteX5" fmla="*/ 25560 w 101519"/>
                  <a:gd name="connsiteY5"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19" h="160679">
                    <a:moveTo>
                      <a:pt x="0" y="0"/>
                    </a:moveTo>
                    <a:lnTo>
                      <a:pt x="0" y="160680"/>
                    </a:lnTo>
                    <a:lnTo>
                      <a:pt x="101520" y="160680"/>
                    </a:lnTo>
                    <a:lnTo>
                      <a:pt x="101520" y="139500"/>
                    </a:lnTo>
                    <a:lnTo>
                      <a:pt x="25560" y="139500"/>
                    </a:lnTo>
                    <a:lnTo>
                      <a:pt x="25560" y="0"/>
                    </a:lnTo>
                    <a:close/>
                  </a:path>
                </a:pathLst>
              </a:custGeom>
              <a:solidFill>
                <a:srgbClr val="06357A"/>
              </a:solidFill>
              <a:ln w="59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0E984B35-62DB-7F91-A648-CE89CC32AF74}"/>
                  </a:ext>
                </a:extLst>
              </p:cNvPr>
              <p:cNvSpPr/>
              <p:nvPr/>
            </p:nvSpPr>
            <p:spPr>
              <a:xfrm>
                <a:off x="87329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8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38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8968E1AB-1AE4-839B-F32C-C350F12A00AA}"/>
                  </a:ext>
                </a:extLst>
              </p:cNvPr>
              <p:cNvSpPr/>
              <p:nvPr/>
            </p:nvSpPr>
            <p:spPr>
              <a:xfrm>
                <a:off x="1069619" y="400019"/>
                <a:ext cx="143879" cy="160679"/>
              </a:xfrm>
              <a:custGeom>
                <a:avLst/>
                <a:gdLst>
                  <a:gd name="connsiteX0" fmla="*/ 82380 w 143879"/>
                  <a:gd name="connsiteY0" fmla="*/ 88740 h 160679"/>
                  <a:gd name="connsiteX1" fmla="*/ 82380 w 143879"/>
                  <a:gd name="connsiteY1" fmla="*/ 160680 h 160679"/>
                  <a:gd name="connsiteX2" fmla="*/ 57120 w 143879"/>
                  <a:gd name="connsiteY2" fmla="*/ 160680 h 160679"/>
                  <a:gd name="connsiteX3" fmla="*/ 57120 w 143879"/>
                  <a:gd name="connsiteY3" fmla="*/ 88740 h 160679"/>
                  <a:gd name="connsiteX4" fmla="*/ 0 w 143879"/>
                  <a:gd name="connsiteY4" fmla="*/ 0 h 160679"/>
                  <a:gd name="connsiteX5" fmla="*/ 29580 w 143879"/>
                  <a:gd name="connsiteY5" fmla="*/ 0 h 160679"/>
                  <a:gd name="connsiteX6" fmla="*/ 71940 w 143879"/>
                  <a:gd name="connsiteY6" fmla="*/ 65520 h 160679"/>
                  <a:gd name="connsiteX7" fmla="*/ 114300 w 143879"/>
                  <a:gd name="connsiteY7" fmla="*/ 0 h 160679"/>
                  <a:gd name="connsiteX8" fmla="*/ 143880 w 143879"/>
                  <a:gd name="connsiteY8"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79" h="160679">
                    <a:moveTo>
                      <a:pt x="82380" y="88740"/>
                    </a:moveTo>
                    <a:lnTo>
                      <a:pt x="82380" y="160680"/>
                    </a:lnTo>
                    <a:lnTo>
                      <a:pt x="57120" y="160680"/>
                    </a:lnTo>
                    <a:lnTo>
                      <a:pt x="57120" y="88740"/>
                    </a:lnTo>
                    <a:lnTo>
                      <a:pt x="0" y="0"/>
                    </a:lnTo>
                    <a:lnTo>
                      <a:pt x="29580" y="0"/>
                    </a:lnTo>
                    <a:lnTo>
                      <a:pt x="71940" y="65520"/>
                    </a:lnTo>
                    <a:lnTo>
                      <a:pt x="114300" y="0"/>
                    </a:lnTo>
                    <a:lnTo>
                      <a:pt x="143880" y="0"/>
                    </a:lnTo>
                    <a:close/>
                  </a:path>
                </a:pathLst>
              </a:custGeom>
              <a:solidFill>
                <a:srgbClr val="06357A"/>
              </a:solidFill>
              <a:ln w="5989"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6282266C-04ED-D328-DFBA-D675945D01AE}"/>
                  </a:ext>
                </a:extLst>
              </p:cNvPr>
              <p:cNvSpPr/>
              <p:nvPr/>
            </p:nvSpPr>
            <p:spPr>
              <a:xfrm>
                <a:off x="1251479" y="400019"/>
                <a:ext cx="101519" cy="160679"/>
              </a:xfrm>
              <a:custGeom>
                <a:avLst/>
                <a:gdLst>
                  <a:gd name="connsiteX0" fmla="*/ 0 w 101519"/>
                  <a:gd name="connsiteY0" fmla="*/ 160680 h 160679"/>
                  <a:gd name="connsiteX1" fmla="*/ 0 w 101519"/>
                  <a:gd name="connsiteY1" fmla="*/ 0 h 160679"/>
                  <a:gd name="connsiteX2" fmla="*/ 99480 w 101519"/>
                  <a:gd name="connsiteY2" fmla="*/ 0 h 160679"/>
                  <a:gd name="connsiteX3" fmla="*/ 99480 w 101519"/>
                  <a:gd name="connsiteY3" fmla="*/ 21180 h 160679"/>
                  <a:gd name="connsiteX4" fmla="*/ 25560 w 101519"/>
                  <a:gd name="connsiteY4" fmla="*/ 21180 h 160679"/>
                  <a:gd name="connsiteX5" fmla="*/ 25560 w 101519"/>
                  <a:gd name="connsiteY5" fmla="*/ 67560 h 160679"/>
                  <a:gd name="connsiteX6" fmla="*/ 86760 w 101519"/>
                  <a:gd name="connsiteY6" fmla="*/ 67560 h 160679"/>
                  <a:gd name="connsiteX7" fmla="*/ 86760 w 101519"/>
                  <a:gd name="connsiteY7" fmla="*/ 88740 h 160679"/>
                  <a:gd name="connsiteX8" fmla="*/ 25560 w 101519"/>
                  <a:gd name="connsiteY8" fmla="*/ 88740 h 160679"/>
                  <a:gd name="connsiteX9" fmla="*/ 25560 w 101519"/>
                  <a:gd name="connsiteY9" fmla="*/ 139500 h 160679"/>
                  <a:gd name="connsiteX10" fmla="*/ 101520 w 101519"/>
                  <a:gd name="connsiteY10" fmla="*/ 139500 h 160679"/>
                  <a:gd name="connsiteX11" fmla="*/ 101520 w 101519"/>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19" h="160679">
                    <a:moveTo>
                      <a:pt x="0" y="160680"/>
                    </a:moveTo>
                    <a:lnTo>
                      <a:pt x="0" y="0"/>
                    </a:lnTo>
                    <a:lnTo>
                      <a:pt x="99480" y="0"/>
                    </a:lnTo>
                    <a:lnTo>
                      <a:pt x="99480" y="21180"/>
                    </a:lnTo>
                    <a:lnTo>
                      <a:pt x="25560" y="21180"/>
                    </a:lnTo>
                    <a:lnTo>
                      <a:pt x="25560" y="67560"/>
                    </a:lnTo>
                    <a:lnTo>
                      <a:pt x="86760" y="67560"/>
                    </a:lnTo>
                    <a:lnTo>
                      <a:pt x="8676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A26858FE-D6D4-3A6C-CF41-2542884F89E3}"/>
                  </a:ext>
                </a:extLst>
              </p:cNvPr>
              <p:cNvSpPr/>
              <p:nvPr/>
            </p:nvSpPr>
            <p:spPr>
              <a:xfrm>
                <a:off x="1402439" y="400019"/>
                <a:ext cx="145919" cy="162719"/>
              </a:xfrm>
              <a:custGeom>
                <a:avLst/>
                <a:gdLst>
                  <a:gd name="connsiteX0" fmla="*/ 122700 w 145919"/>
                  <a:gd name="connsiteY0" fmla="*/ 162720 h 162719"/>
                  <a:gd name="connsiteX1" fmla="*/ 31920 w 145919"/>
                  <a:gd name="connsiteY1" fmla="*/ 46740 h 162719"/>
                  <a:gd name="connsiteX2" fmla="*/ 23520 w 145919"/>
                  <a:gd name="connsiteY2" fmla="*/ 31920 h 162719"/>
                  <a:gd name="connsiteX3" fmla="*/ 23520 w 145919"/>
                  <a:gd name="connsiteY3" fmla="*/ 160680 h 162719"/>
                  <a:gd name="connsiteX4" fmla="*/ 0 w 145919"/>
                  <a:gd name="connsiteY4" fmla="*/ 160680 h 162719"/>
                  <a:gd name="connsiteX5" fmla="*/ 0 w 145919"/>
                  <a:gd name="connsiteY5" fmla="*/ 0 h 162719"/>
                  <a:gd name="connsiteX6" fmla="*/ 25560 w 145919"/>
                  <a:gd name="connsiteY6" fmla="*/ 0 h 162719"/>
                  <a:gd name="connsiteX7" fmla="*/ 116340 w 145919"/>
                  <a:gd name="connsiteY7" fmla="*/ 114300 h 162719"/>
                  <a:gd name="connsiteX8" fmla="*/ 122700 w 145919"/>
                  <a:gd name="connsiteY8" fmla="*/ 129060 h 162719"/>
                  <a:gd name="connsiteX9" fmla="*/ 122700 w 145919"/>
                  <a:gd name="connsiteY9" fmla="*/ 0 h 162719"/>
                  <a:gd name="connsiteX10" fmla="*/ 145920 w 145919"/>
                  <a:gd name="connsiteY10" fmla="*/ 0 h 162719"/>
                  <a:gd name="connsiteX11" fmla="*/ 145920 w 145919"/>
                  <a:gd name="connsiteY11" fmla="*/ 162660 h 162719"/>
                  <a:gd name="connsiteX12" fmla="*/ 122700 w 145919"/>
                  <a:gd name="connsiteY12" fmla="*/ 16266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9" h="162719">
                    <a:moveTo>
                      <a:pt x="122700" y="162720"/>
                    </a:moveTo>
                    <a:lnTo>
                      <a:pt x="31920" y="46740"/>
                    </a:lnTo>
                    <a:cubicBezTo>
                      <a:pt x="26520" y="39660"/>
                      <a:pt x="24540" y="36300"/>
                      <a:pt x="23520" y="31920"/>
                    </a:cubicBezTo>
                    <a:lnTo>
                      <a:pt x="23520" y="160680"/>
                    </a:lnTo>
                    <a:lnTo>
                      <a:pt x="0" y="160680"/>
                    </a:lnTo>
                    <a:lnTo>
                      <a:pt x="0" y="0"/>
                    </a:lnTo>
                    <a:lnTo>
                      <a:pt x="25560" y="0"/>
                    </a:lnTo>
                    <a:lnTo>
                      <a:pt x="116340" y="114300"/>
                    </a:lnTo>
                    <a:cubicBezTo>
                      <a:pt x="119040" y="117960"/>
                      <a:pt x="122040" y="124020"/>
                      <a:pt x="122700" y="129060"/>
                    </a:cubicBezTo>
                    <a:lnTo>
                      <a:pt x="122700" y="0"/>
                    </a:lnTo>
                    <a:lnTo>
                      <a:pt x="145920" y="0"/>
                    </a:lnTo>
                    <a:lnTo>
                      <a:pt x="145920" y="162660"/>
                    </a:lnTo>
                    <a:lnTo>
                      <a:pt x="122700" y="162660"/>
                    </a:lnTo>
                    <a:close/>
                  </a:path>
                </a:pathLst>
              </a:custGeom>
              <a:solidFill>
                <a:srgbClr val="06357A"/>
              </a:solidFill>
              <a:ln w="59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F2A69782-2B9B-9546-01A5-9748306AE71D}"/>
                  </a:ext>
                </a:extLst>
              </p:cNvPr>
              <p:cNvSpPr/>
              <p:nvPr/>
            </p:nvSpPr>
            <p:spPr>
              <a:xfrm>
                <a:off x="1597379" y="397320"/>
                <a:ext cx="115679" cy="166319"/>
              </a:xfrm>
              <a:custGeom>
                <a:avLst/>
                <a:gdLst>
                  <a:gd name="connsiteX0" fmla="*/ 106560 w 115679"/>
                  <a:gd name="connsiteY0" fmla="*/ 34620 h 166319"/>
                  <a:gd name="connsiteX1" fmla="*/ 86400 w 115679"/>
                  <a:gd name="connsiteY1" fmla="*/ 24840 h 166319"/>
                  <a:gd name="connsiteX2" fmla="*/ 63900 w 115679"/>
                  <a:gd name="connsiteY2" fmla="*/ 21480 h 166319"/>
                  <a:gd name="connsiteX3" fmla="*/ 30960 w 115679"/>
                  <a:gd name="connsiteY3" fmla="*/ 41280 h 166319"/>
                  <a:gd name="connsiteX4" fmla="*/ 32940 w 115679"/>
                  <a:gd name="connsiteY4" fmla="*/ 49680 h 166319"/>
                  <a:gd name="connsiteX5" fmla="*/ 74280 w 115679"/>
                  <a:gd name="connsiteY5" fmla="*/ 74880 h 166319"/>
                  <a:gd name="connsiteX6" fmla="*/ 114300 w 115679"/>
                  <a:gd name="connsiteY6" fmla="*/ 120600 h 166319"/>
                  <a:gd name="connsiteX7" fmla="*/ 55800 w 115679"/>
                  <a:gd name="connsiteY7" fmla="*/ 166320 h 166319"/>
                  <a:gd name="connsiteX8" fmla="*/ 22860 w 115679"/>
                  <a:gd name="connsiteY8" fmla="*/ 161280 h 166319"/>
                  <a:gd name="connsiteX9" fmla="*/ 0 w 115679"/>
                  <a:gd name="connsiteY9" fmla="*/ 149160 h 166319"/>
                  <a:gd name="connsiteX10" fmla="*/ 11400 w 115679"/>
                  <a:gd name="connsiteY10" fmla="*/ 127320 h 166319"/>
                  <a:gd name="connsiteX11" fmla="*/ 32220 w 115679"/>
                  <a:gd name="connsiteY11" fmla="*/ 140100 h 166319"/>
                  <a:gd name="connsiteX12" fmla="*/ 58800 w 115679"/>
                  <a:gd name="connsiteY12" fmla="*/ 145500 h 166319"/>
                  <a:gd name="connsiteX13" fmla="*/ 88740 w 115679"/>
                  <a:gd name="connsiteY13" fmla="*/ 124020 h 166319"/>
                  <a:gd name="connsiteX14" fmla="*/ 70560 w 115679"/>
                  <a:gd name="connsiteY14" fmla="*/ 100140 h 166319"/>
                  <a:gd name="connsiteX15" fmla="*/ 41340 w 115679"/>
                  <a:gd name="connsiteY15" fmla="*/ 86040 h 166319"/>
                  <a:gd name="connsiteX16" fmla="*/ 5700 w 115679"/>
                  <a:gd name="connsiteY16" fmla="*/ 43680 h 166319"/>
                  <a:gd name="connsiteX17" fmla="*/ 64200 w 115679"/>
                  <a:gd name="connsiteY17" fmla="*/ 0 h 166319"/>
                  <a:gd name="connsiteX18" fmla="*/ 94140 w 115679"/>
                  <a:gd name="connsiteY18" fmla="*/ 4020 h 166319"/>
                  <a:gd name="connsiteX19" fmla="*/ 115680 w 115679"/>
                  <a:gd name="connsiteY19" fmla="*/ 13440 h 166319"/>
                  <a:gd name="connsiteX20" fmla="*/ 106560 w 115679"/>
                  <a:gd name="connsiteY20" fmla="*/ 34620 h 1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679" h="166319">
                    <a:moveTo>
                      <a:pt x="106560" y="34620"/>
                    </a:moveTo>
                    <a:cubicBezTo>
                      <a:pt x="98160" y="28920"/>
                      <a:pt x="94440" y="27240"/>
                      <a:pt x="86400" y="24840"/>
                    </a:cubicBezTo>
                    <a:cubicBezTo>
                      <a:pt x="78000" y="22140"/>
                      <a:pt x="70920" y="21480"/>
                      <a:pt x="63900" y="21480"/>
                    </a:cubicBezTo>
                    <a:cubicBezTo>
                      <a:pt x="43380" y="21480"/>
                      <a:pt x="30960" y="28860"/>
                      <a:pt x="30960" y="41280"/>
                    </a:cubicBezTo>
                    <a:cubicBezTo>
                      <a:pt x="30960" y="44640"/>
                      <a:pt x="31620" y="47700"/>
                      <a:pt x="32940" y="49680"/>
                    </a:cubicBezTo>
                    <a:cubicBezTo>
                      <a:pt x="37680" y="56760"/>
                      <a:pt x="43020" y="59760"/>
                      <a:pt x="74280" y="74880"/>
                    </a:cubicBezTo>
                    <a:cubicBezTo>
                      <a:pt x="104520" y="89640"/>
                      <a:pt x="114300" y="100740"/>
                      <a:pt x="114300" y="120600"/>
                    </a:cubicBezTo>
                    <a:cubicBezTo>
                      <a:pt x="114300" y="149160"/>
                      <a:pt x="92100" y="166320"/>
                      <a:pt x="55800" y="166320"/>
                    </a:cubicBezTo>
                    <a:cubicBezTo>
                      <a:pt x="43680" y="166320"/>
                      <a:pt x="32280" y="164640"/>
                      <a:pt x="22860" y="161280"/>
                    </a:cubicBezTo>
                    <a:cubicBezTo>
                      <a:pt x="16140" y="158580"/>
                      <a:pt x="11400" y="156240"/>
                      <a:pt x="0" y="149160"/>
                    </a:cubicBezTo>
                    <a:lnTo>
                      <a:pt x="11400" y="127320"/>
                    </a:lnTo>
                    <a:cubicBezTo>
                      <a:pt x="21480" y="134700"/>
                      <a:pt x="25860" y="137400"/>
                      <a:pt x="32220" y="140100"/>
                    </a:cubicBezTo>
                    <a:cubicBezTo>
                      <a:pt x="40320" y="143460"/>
                      <a:pt x="49680" y="145500"/>
                      <a:pt x="58800" y="145500"/>
                    </a:cubicBezTo>
                    <a:cubicBezTo>
                      <a:pt x="77640" y="145500"/>
                      <a:pt x="88740" y="137460"/>
                      <a:pt x="88740" y="124020"/>
                    </a:cubicBezTo>
                    <a:cubicBezTo>
                      <a:pt x="88740" y="113280"/>
                      <a:pt x="83340" y="106200"/>
                      <a:pt x="70560" y="100140"/>
                    </a:cubicBezTo>
                    <a:lnTo>
                      <a:pt x="41340" y="86040"/>
                    </a:lnTo>
                    <a:cubicBezTo>
                      <a:pt x="16800" y="74280"/>
                      <a:pt x="5700" y="60840"/>
                      <a:pt x="5700" y="43680"/>
                    </a:cubicBezTo>
                    <a:cubicBezTo>
                      <a:pt x="5700" y="17100"/>
                      <a:pt x="28560" y="0"/>
                      <a:pt x="64200" y="0"/>
                    </a:cubicBezTo>
                    <a:cubicBezTo>
                      <a:pt x="74640" y="0"/>
                      <a:pt x="85020" y="1320"/>
                      <a:pt x="94140" y="4020"/>
                    </a:cubicBezTo>
                    <a:cubicBezTo>
                      <a:pt x="101520" y="6060"/>
                      <a:pt x="105540" y="8040"/>
                      <a:pt x="115680" y="13440"/>
                    </a:cubicBezTo>
                    <a:lnTo>
                      <a:pt x="106560" y="34620"/>
                    </a:lnTo>
                    <a:close/>
                  </a:path>
                </a:pathLst>
              </a:custGeom>
              <a:solidFill>
                <a:srgbClr val="06357A"/>
              </a:solidFill>
              <a:ln w="5989" cap="flat">
                <a:noFill/>
                <a:prstDash val="solid"/>
                <a:miter/>
              </a:ln>
            </p:spPr>
            <p:txBody>
              <a:bodyPr rtlCol="0" anchor="ctr"/>
              <a:lstStyle/>
              <a:p>
                <a:endParaRPr lang="en-GB" dirty="0"/>
              </a:p>
            </p:txBody>
          </p:sp>
        </p:grpSp>
        <p:grpSp>
          <p:nvGrpSpPr>
            <p:cNvPr id="12" name="Graphic 3">
              <a:extLst>
                <a:ext uri="{FF2B5EF4-FFF2-40B4-BE49-F238E27FC236}">
                  <a16:creationId xmlns:a16="http://schemas.microsoft.com/office/drawing/2014/main" id="{223086F3-A46B-6784-D8E7-58FE424405A4}"/>
                </a:ext>
              </a:extLst>
            </p:cNvPr>
            <p:cNvGrpSpPr/>
            <p:nvPr/>
          </p:nvGrpSpPr>
          <p:grpSpPr>
            <a:xfrm>
              <a:off x="1619999" y="701219"/>
              <a:ext cx="481139" cy="80940"/>
              <a:chOff x="1619999" y="701219"/>
              <a:chExt cx="481139" cy="80940"/>
            </a:xfrm>
            <a:solidFill>
              <a:srgbClr val="06357A"/>
            </a:solidFill>
          </p:grpSpPr>
          <p:sp>
            <p:nvSpPr>
              <p:cNvPr id="13" name="Freeform: Shape 12">
                <a:extLst>
                  <a:ext uri="{FF2B5EF4-FFF2-40B4-BE49-F238E27FC236}">
                    <a16:creationId xmlns:a16="http://schemas.microsoft.com/office/drawing/2014/main" id="{E2EB9138-041D-3BF4-A290-3232F67E87D8}"/>
                  </a:ext>
                </a:extLst>
              </p:cNvPr>
              <p:cNvSpPr/>
              <p:nvPr/>
            </p:nvSpPr>
            <p:spPr>
              <a:xfrm>
                <a:off x="1619999" y="701219"/>
                <a:ext cx="51959" cy="79200"/>
              </a:xfrm>
              <a:custGeom>
                <a:avLst/>
                <a:gdLst>
                  <a:gd name="connsiteX0" fmla="*/ 0 w 51959"/>
                  <a:gd name="connsiteY0" fmla="*/ 0 h 79200"/>
                  <a:gd name="connsiteX1" fmla="*/ 7560 w 51959"/>
                  <a:gd name="connsiteY1" fmla="*/ 0 h 79200"/>
                  <a:gd name="connsiteX2" fmla="*/ 7560 w 51959"/>
                  <a:gd name="connsiteY2" fmla="*/ 72780 h 79200"/>
                  <a:gd name="connsiteX3" fmla="*/ 51960 w 51959"/>
                  <a:gd name="connsiteY3" fmla="*/ 72780 h 79200"/>
                  <a:gd name="connsiteX4" fmla="*/ 51960 w 51959"/>
                  <a:gd name="connsiteY4" fmla="*/ 79200 h 79200"/>
                  <a:gd name="connsiteX5" fmla="*/ 0 w 51959"/>
                  <a:gd name="connsiteY5" fmla="*/ 79200 h 79200"/>
                  <a:gd name="connsiteX6" fmla="*/ 0 w 51959"/>
                  <a:gd name="connsiteY6"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59" h="79200">
                    <a:moveTo>
                      <a:pt x="0" y="0"/>
                    </a:moveTo>
                    <a:lnTo>
                      <a:pt x="7560" y="0"/>
                    </a:lnTo>
                    <a:lnTo>
                      <a:pt x="7560" y="72780"/>
                    </a:lnTo>
                    <a:lnTo>
                      <a:pt x="51960" y="72780"/>
                    </a:lnTo>
                    <a:lnTo>
                      <a:pt x="51960" y="79200"/>
                    </a:lnTo>
                    <a:lnTo>
                      <a:pt x="0" y="79200"/>
                    </a:lnTo>
                    <a:lnTo>
                      <a:pt x="0" y="0"/>
                    </a:lnTo>
                    <a:close/>
                  </a:path>
                </a:pathLst>
              </a:custGeom>
              <a:solidFill>
                <a:srgbClr val="06357A"/>
              </a:solidFill>
              <a:ln w="5989"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5A6F993A-E390-831D-85D6-D74EEF09A381}"/>
                  </a:ext>
                </a:extLst>
              </p:cNvPr>
              <p:cNvSpPr/>
              <p:nvPr/>
            </p:nvSpPr>
            <p:spPr>
              <a:xfrm>
                <a:off x="167501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DA8B5DFC-5998-ED78-C089-D8D9FDAA7E38}"/>
                  </a:ext>
                </a:extLst>
              </p:cNvPr>
              <p:cNvSpPr/>
              <p:nvPr/>
            </p:nvSpPr>
            <p:spPr>
              <a:xfrm>
                <a:off x="1730039" y="723180"/>
                <a:ext cx="80459" cy="57240"/>
              </a:xfrm>
              <a:custGeom>
                <a:avLst/>
                <a:gdLst>
                  <a:gd name="connsiteX0" fmla="*/ 0 w 80459"/>
                  <a:gd name="connsiteY0" fmla="*/ 0 h 57240"/>
                  <a:gd name="connsiteX1" fmla="*/ 7440 w 80459"/>
                  <a:gd name="connsiteY1" fmla="*/ 0 h 57240"/>
                  <a:gd name="connsiteX2" fmla="*/ 22080 w 80459"/>
                  <a:gd name="connsiteY2" fmla="*/ 49020 h 57240"/>
                  <a:gd name="connsiteX3" fmla="*/ 22320 w 80459"/>
                  <a:gd name="connsiteY3" fmla="*/ 49020 h 57240"/>
                  <a:gd name="connsiteX4" fmla="*/ 36300 w 80459"/>
                  <a:gd name="connsiteY4" fmla="*/ 0 h 57240"/>
                  <a:gd name="connsiteX5" fmla="*/ 44160 w 80459"/>
                  <a:gd name="connsiteY5" fmla="*/ 0 h 57240"/>
                  <a:gd name="connsiteX6" fmla="*/ 58140 w 80459"/>
                  <a:gd name="connsiteY6" fmla="*/ 49020 h 57240"/>
                  <a:gd name="connsiteX7" fmla="*/ 58380 w 80459"/>
                  <a:gd name="connsiteY7" fmla="*/ 49020 h 57240"/>
                  <a:gd name="connsiteX8" fmla="*/ 73020 w 80459"/>
                  <a:gd name="connsiteY8" fmla="*/ 0 h 57240"/>
                  <a:gd name="connsiteX9" fmla="*/ 80460 w 80459"/>
                  <a:gd name="connsiteY9" fmla="*/ 0 h 57240"/>
                  <a:gd name="connsiteX10" fmla="*/ 62040 w 80459"/>
                  <a:gd name="connsiteY10" fmla="*/ 57240 h 57240"/>
                  <a:gd name="connsiteX11" fmla="*/ 54360 w 80459"/>
                  <a:gd name="connsiteY11" fmla="*/ 57240 h 57240"/>
                  <a:gd name="connsiteX12" fmla="*/ 40260 w 80459"/>
                  <a:gd name="connsiteY12" fmla="*/ 9060 h 57240"/>
                  <a:gd name="connsiteX13" fmla="*/ 40020 w 80459"/>
                  <a:gd name="connsiteY13" fmla="*/ 9060 h 57240"/>
                  <a:gd name="connsiteX14" fmla="*/ 26040 w 80459"/>
                  <a:gd name="connsiteY14" fmla="*/ 57240 h 57240"/>
                  <a:gd name="connsiteX15" fmla="*/ 18360 w 80459"/>
                  <a:gd name="connsiteY15" fmla="*/ 57240 h 57240"/>
                  <a:gd name="connsiteX16" fmla="*/ 0 w 80459"/>
                  <a:gd name="connsiteY16" fmla="*/ 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459" h="57240">
                    <a:moveTo>
                      <a:pt x="0" y="0"/>
                    </a:moveTo>
                    <a:lnTo>
                      <a:pt x="7440" y="0"/>
                    </a:lnTo>
                    <a:lnTo>
                      <a:pt x="22080" y="49020"/>
                    </a:lnTo>
                    <a:lnTo>
                      <a:pt x="22320" y="49020"/>
                    </a:lnTo>
                    <a:lnTo>
                      <a:pt x="36300" y="0"/>
                    </a:lnTo>
                    <a:lnTo>
                      <a:pt x="44160" y="0"/>
                    </a:lnTo>
                    <a:lnTo>
                      <a:pt x="58140" y="49020"/>
                    </a:lnTo>
                    <a:lnTo>
                      <a:pt x="58380" y="49020"/>
                    </a:lnTo>
                    <a:lnTo>
                      <a:pt x="73020" y="0"/>
                    </a:lnTo>
                    <a:lnTo>
                      <a:pt x="80460" y="0"/>
                    </a:lnTo>
                    <a:lnTo>
                      <a:pt x="62040" y="57240"/>
                    </a:lnTo>
                    <a:lnTo>
                      <a:pt x="54360" y="57240"/>
                    </a:lnTo>
                    <a:lnTo>
                      <a:pt x="40260" y="9060"/>
                    </a:lnTo>
                    <a:lnTo>
                      <a:pt x="40020" y="9060"/>
                    </a:lnTo>
                    <a:lnTo>
                      <a:pt x="26040" y="57240"/>
                    </a:lnTo>
                    <a:lnTo>
                      <a:pt x="18360" y="57240"/>
                    </a:lnTo>
                    <a:lnTo>
                      <a:pt x="0" y="0"/>
                    </a:lnTo>
                    <a:close/>
                  </a:path>
                </a:pathLst>
              </a:custGeom>
              <a:solidFill>
                <a:srgbClr val="06357A"/>
              </a:solidFill>
              <a:ln w="5989"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772E41CB-24F6-3224-1029-3DAAFCEEBCDD}"/>
                  </a:ext>
                </a:extLst>
              </p:cNvPr>
              <p:cNvSpPr/>
              <p:nvPr/>
            </p:nvSpPr>
            <p:spPr>
              <a:xfrm>
                <a:off x="1846559" y="701279"/>
                <a:ext cx="64440" cy="80880"/>
              </a:xfrm>
              <a:custGeom>
                <a:avLst/>
                <a:gdLst>
                  <a:gd name="connsiteX0" fmla="*/ 47220 w 64440"/>
                  <a:gd name="connsiteY0" fmla="*/ 68880 h 80880"/>
                  <a:gd name="connsiteX1" fmla="*/ 23940 w 64440"/>
                  <a:gd name="connsiteY1" fmla="*/ 80880 h 80880"/>
                  <a:gd name="connsiteX2" fmla="*/ 0 w 64440"/>
                  <a:gd name="connsiteY2" fmla="*/ 58680 h 80880"/>
                  <a:gd name="connsiteX3" fmla="*/ 19440 w 64440"/>
                  <a:gd name="connsiteY3" fmla="*/ 35160 h 80880"/>
                  <a:gd name="connsiteX4" fmla="*/ 9660 w 64440"/>
                  <a:gd name="connsiteY4" fmla="*/ 16080 h 80880"/>
                  <a:gd name="connsiteX5" fmla="*/ 27180 w 64440"/>
                  <a:gd name="connsiteY5" fmla="*/ 0 h 80880"/>
                  <a:gd name="connsiteX6" fmla="*/ 44700 w 64440"/>
                  <a:gd name="connsiteY6" fmla="*/ 16080 h 80880"/>
                  <a:gd name="connsiteX7" fmla="*/ 29160 w 64440"/>
                  <a:gd name="connsiteY7" fmla="*/ 36600 h 80880"/>
                  <a:gd name="connsiteX8" fmla="*/ 46440 w 64440"/>
                  <a:gd name="connsiteY8" fmla="*/ 57480 h 80880"/>
                  <a:gd name="connsiteX9" fmla="*/ 48780 w 64440"/>
                  <a:gd name="connsiteY9" fmla="*/ 44160 h 80880"/>
                  <a:gd name="connsiteX10" fmla="*/ 55800 w 64440"/>
                  <a:gd name="connsiteY10" fmla="*/ 44160 h 80880"/>
                  <a:gd name="connsiteX11" fmla="*/ 51120 w 64440"/>
                  <a:gd name="connsiteY11" fmla="*/ 63120 h 80880"/>
                  <a:gd name="connsiteX12" fmla="*/ 64440 w 64440"/>
                  <a:gd name="connsiteY12" fmla="*/ 79200 h 80880"/>
                  <a:gd name="connsiteX13" fmla="*/ 55680 w 64440"/>
                  <a:gd name="connsiteY13" fmla="*/ 79200 h 80880"/>
                  <a:gd name="connsiteX14" fmla="*/ 47220 w 64440"/>
                  <a:gd name="connsiteY14" fmla="*/ 68880 h 80880"/>
                  <a:gd name="connsiteX15" fmla="*/ 23160 w 64440"/>
                  <a:gd name="connsiteY15" fmla="*/ 39660 h 80880"/>
                  <a:gd name="connsiteX16" fmla="*/ 6960 w 64440"/>
                  <a:gd name="connsiteY16" fmla="*/ 59280 h 80880"/>
                  <a:gd name="connsiteX17" fmla="*/ 24180 w 64440"/>
                  <a:gd name="connsiteY17" fmla="*/ 74940 h 80880"/>
                  <a:gd name="connsiteX18" fmla="*/ 42900 w 64440"/>
                  <a:gd name="connsiteY18" fmla="*/ 63600 h 80880"/>
                  <a:gd name="connsiteX19" fmla="*/ 23160 w 64440"/>
                  <a:gd name="connsiteY19" fmla="*/ 39660 h 80880"/>
                  <a:gd name="connsiteX20" fmla="*/ 16620 w 64440"/>
                  <a:gd name="connsiteY20" fmla="*/ 16020 h 80880"/>
                  <a:gd name="connsiteX21" fmla="*/ 25500 w 64440"/>
                  <a:gd name="connsiteY21" fmla="*/ 31980 h 80880"/>
                  <a:gd name="connsiteX22" fmla="*/ 37680 w 64440"/>
                  <a:gd name="connsiteY22" fmla="*/ 16020 h 80880"/>
                  <a:gd name="connsiteX23" fmla="*/ 27120 w 64440"/>
                  <a:gd name="connsiteY23" fmla="*/ 5820 h 80880"/>
                  <a:gd name="connsiteX24" fmla="*/ 16620 w 64440"/>
                  <a:gd name="connsiteY24" fmla="*/ 16020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440" h="80880">
                    <a:moveTo>
                      <a:pt x="47220" y="68880"/>
                    </a:moveTo>
                    <a:cubicBezTo>
                      <a:pt x="41460" y="76080"/>
                      <a:pt x="33240" y="80880"/>
                      <a:pt x="23940" y="80880"/>
                    </a:cubicBezTo>
                    <a:cubicBezTo>
                      <a:pt x="10320" y="80880"/>
                      <a:pt x="0" y="73020"/>
                      <a:pt x="0" y="58680"/>
                    </a:cubicBezTo>
                    <a:cubicBezTo>
                      <a:pt x="0" y="47460"/>
                      <a:pt x="10560" y="39900"/>
                      <a:pt x="19440" y="35160"/>
                    </a:cubicBezTo>
                    <a:cubicBezTo>
                      <a:pt x="15120" y="29640"/>
                      <a:pt x="9660" y="23700"/>
                      <a:pt x="9660" y="16080"/>
                    </a:cubicBezTo>
                    <a:cubicBezTo>
                      <a:pt x="9660" y="6420"/>
                      <a:pt x="17520" y="0"/>
                      <a:pt x="27180" y="0"/>
                    </a:cubicBezTo>
                    <a:cubicBezTo>
                      <a:pt x="36840" y="0"/>
                      <a:pt x="44700" y="6420"/>
                      <a:pt x="44700" y="16080"/>
                    </a:cubicBezTo>
                    <a:cubicBezTo>
                      <a:pt x="44700" y="25980"/>
                      <a:pt x="37020" y="31620"/>
                      <a:pt x="29160" y="36600"/>
                    </a:cubicBezTo>
                    <a:lnTo>
                      <a:pt x="46440" y="57480"/>
                    </a:lnTo>
                    <a:cubicBezTo>
                      <a:pt x="48300" y="53580"/>
                      <a:pt x="48780" y="50280"/>
                      <a:pt x="48780" y="44160"/>
                    </a:cubicBezTo>
                    <a:lnTo>
                      <a:pt x="55800" y="44160"/>
                    </a:lnTo>
                    <a:cubicBezTo>
                      <a:pt x="55800" y="48600"/>
                      <a:pt x="54780" y="56340"/>
                      <a:pt x="51120" y="63120"/>
                    </a:cubicBezTo>
                    <a:lnTo>
                      <a:pt x="64440" y="79200"/>
                    </a:lnTo>
                    <a:lnTo>
                      <a:pt x="55680" y="79200"/>
                    </a:lnTo>
                    <a:lnTo>
                      <a:pt x="47220" y="68880"/>
                    </a:lnTo>
                    <a:close/>
                    <a:moveTo>
                      <a:pt x="23160" y="39660"/>
                    </a:moveTo>
                    <a:cubicBezTo>
                      <a:pt x="15480" y="43740"/>
                      <a:pt x="6960" y="49740"/>
                      <a:pt x="6960" y="59280"/>
                    </a:cubicBezTo>
                    <a:cubicBezTo>
                      <a:pt x="6960" y="68580"/>
                      <a:pt x="15300" y="74940"/>
                      <a:pt x="24180" y="74940"/>
                    </a:cubicBezTo>
                    <a:cubicBezTo>
                      <a:pt x="32160" y="74940"/>
                      <a:pt x="38520" y="69960"/>
                      <a:pt x="42900" y="63600"/>
                    </a:cubicBezTo>
                    <a:lnTo>
                      <a:pt x="23160" y="39660"/>
                    </a:lnTo>
                    <a:close/>
                    <a:moveTo>
                      <a:pt x="16620" y="16020"/>
                    </a:moveTo>
                    <a:cubicBezTo>
                      <a:pt x="16620" y="21540"/>
                      <a:pt x="21960" y="27780"/>
                      <a:pt x="25500" y="31980"/>
                    </a:cubicBezTo>
                    <a:cubicBezTo>
                      <a:pt x="31020" y="28440"/>
                      <a:pt x="37680" y="23760"/>
                      <a:pt x="37680" y="16020"/>
                    </a:cubicBezTo>
                    <a:cubicBezTo>
                      <a:pt x="37680" y="9360"/>
                      <a:pt x="32940" y="5820"/>
                      <a:pt x="27120" y="5820"/>
                    </a:cubicBezTo>
                    <a:cubicBezTo>
                      <a:pt x="21360" y="5820"/>
                      <a:pt x="16620" y="9360"/>
                      <a:pt x="16620" y="16020"/>
                    </a:cubicBezTo>
                    <a:close/>
                  </a:path>
                </a:pathLst>
              </a:custGeom>
              <a:solidFill>
                <a:srgbClr val="06357A"/>
              </a:solidFill>
              <a:ln w="5989"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45407377-FEDE-A237-0EAA-03ADEDEFE926}"/>
                  </a:ext>
                </a:extLst>
              </p:cNvPr>
              <p:cNvSpPr/>
              <p:nvPr/>
            </p:nvSpPr>
            <p:spPr>
              <a:xfrm>
                <a:off x="1940219" y="701219"/>
                <a:ext cx="62880" cy="79200"/>
              </a:xfrm>
              <a:custGeom>
                <a:avLst/>
                <a:gdLst>
                  <a:gd name="connsiteX0" fmla="*/ 60 w 62880"/>
                  <a:gd name="connsiteY0" fmla="*/ 0 h 79200"/>
                  <a:gd name="connsiteX1" fmla="*/ 62880 w 62880"/>
                  <a:gd name="connsiteY1" fmla="*/ 0 h 79200"/>
                  <a:gd name="connsiteX2" fmla="*/ 62880 w 62880"/>
                  <a:gd name="connsiteY2" fmla="*/ 6420 h 79200"/>
                  <a:gd name="connsiteX3" fmla="*/ 35220 w 62880"/>
                  <a:gd name="connsiteY3" fmla="*/ 6420 h 79200"/>
                  <a:gd name="connsiteX4" fmla="*/ 35220 w 62880"/>
                  <a:gd name="connsiteY4" fmla="*/ 79200 h 79200"/>
                  <a:gd name="connsiteX5" fmla="*/ 27660 w 62880"/>
                  <a:gd name="connsiteY5" fmla="*/ 79200 h 79200"/>
                  <a:gd name="connsiteX6" fmla="*/ 27660 w 62880"/>
                  <a:gd name="connsiteY6" fmla="*/ 6420 h 79200"/>
                  <a:gd name="connsiteX7" fmla="*/ 0 w 62880"/>
                  <a:gd name="connsiteY7" fmla="*/ 6420 h 79200"/>
                  <a:gd name="connsiteX8" fmla="*/ 0 w 62880"/>
                  <a:gd name="connsiteY8"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80" h="79200">
                    <a:moveTo>
                      <a:pt x="60" y="0"/>
                    </a:moveTo>
                    <a:lnTo>
                      <a:pt x="62880" y="0"/>
                    </a:lnTo>
                    <a:lnTo>
                      <a:pt x="62880" y="6420"/>
                    </a:lnTo>
                    <a:lnTo>
                      <a:pt x="35220" y="6420"/>
                    </a:lnTo>
                    <a:lnTo>
                      <a:pt x="35220" y="79200"/>
                    </a:lnTo>
                    <a:lnTo>
                      <a:pt x="27660" y="79200"/>
                    </a:lnTo>
                    <a:lnTo>
                      <a:pt x="27660" y="6420"/>
                    </a:lnTo>
                    <a:lnTo>
                      <a:pt x="0" y="6420"/>
                    </a:lnTo>
                    <a:lnTo>
                      <a:pt x="0" y="0"/>
                    </a:lnTo>
                    <a:close/>
                  </a:path>
                </a:pathLst>
              </a:custGeom>
              <a:solidFill>
                <a:srgbClr val="06357A"/>
              </a:solidFill>
              <a:ln w="5989"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E5812581-AB35-0C16-60E4-7FB199205EFE}"/>
                  </a:ext>
                </a:extLst>
              </p:cNvPr>
              <p:cNvSpPr/>
              <p:nvPr/>
            </p:nvSpPr>
            <p:spPr>
              <a:xfrm>
                <a:off x="199373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1238E1D-CE90-FE3A-14A1-F5246C2062FC}"/>
                  </a:ext>
                </a:extLst>
              </p:cNvPr>
              <p:cNvSpPr/>
              <p:nvPr/>
            </p:nvSpPr>
            <p:spPr>
              <a:xfrm>
                <a:off x="2047979" y="723180"/>
                <a:ext cx="53159" cy="57240"/>
              </a:xfrm>
              <a:custGeom>
                <a:avLst/>
                <a:gdLst>
                  <a:gd name="connsiteX0" fmla="*/ 22200 w 53159"/>
                  <a:gd name="connsiteY0" fmla="*/ 27540 h 57240"/>
                  <a:gd name="connsiteX1" fmla="*/ 1680 w 53159"/>
                  <a:gd name="connsiteY1" fmla="*/ 0 h 57240"/>
                  <a:gd name="connsiteX2" fmla="*/ 10440 w 53159"/>
                  <a:gd name="connsiteY2" fmla="*/ 0 h 57240"/>
                  <a:gd name="connsiteX3" fmla="*/ 26760 w 53159"/>
                  <a:gd name="connsiteY3" fmla="*/ 21720 h 57240"/>
                  <a:gd name="connsiteX4" fmla="*/ 42720 w 53159"/>
                  <a:gd name="connsiteY4" fmla="*/ 0 h 57240"/>
                  <a:gd name="connsiteX5" fmla="*/ 51480 w 53159"/>
                  <a:gd name="connsiteY5" fmla="*/ 0 h 57240"/>
                  <a:gd name="connsiteX6" fmla="*/ 30840 w 53159"/>
                  <a:gd name="connsiteY6" fmla="*/ 27420 h 57240"/>
                  <a:gd name="connsiteX7" fmla="*/ 53160 w 53159"/>
                  <a:gd name="connsiteY7" fmla="*/ 57240 h 57240"/>
                  <a:gd name="connsiteX8" fmla="*/ 44280 w 53159"/>
                  <a:gd name="connsiteY8" fmla="*/ 57240 h 57240"/>
                  <a:gd name="connsiteX9" fmla="*/ 26280 w 53159"/>
                  <a:gd name="connsiteY9" fmla="*/ 33180 h 57240"/>
                  <a:gd name="connsiteX10" fmla="*/ 8640 w 53159"/>
                  <a:gd name="connsiteY10" fmla="*/ 57240 h 57240"/>
                  <a:gd name="connsiteX11" fmla="*/ 0 w 53159"/>
                  <a:gd name="connsiteY11" fmla="*/ 57240 h 57240"/>
                  <a:gd name="connsiteX12" fmla="*/ 22200 w 53159"/>
                  <a:gd name="connsiteY12" fmla="*/ 2754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159" h="57240">
                    <a:moveTo>
                      <a:pt x="22200" y="27540"/>
                    </a:moveTo>
                    <a:lnTo>
                      <a:pt x="1680" y="0"/>
                    </a:lnTo>
                    <a:lnTo>
                      <a:pt x="10440" y="0"/>
                    </a:lnTo>
                    <a:lnTo>
                      <a:pt x="26760" y="21720"/>
                    </a:lnTo>
                    <a:lnTo>
                      <a:pt x="42720" y="0"/>
                    </a:lnTo>
                    <a:lnTo>
                      <a:pt x="51480" y="0"/>
                    </a:lnTo>
                    <a:lnTo>
                      <a:pt x="30840" y="27420"/>
                    </a:lnTo>
                    <a:lnTo>
                      <a:pt x="53160" y="57240"/>
                    </a:lnTo>
                    <a:lnTo>
                      <a:pt x="44280" y="57240"/>
                    </a:lnTo>
                    <a:lnTo>
                      <a:pt x="26280" y="33180"/>
                    </a:lnTo>
                    <a:lnTo>
                      <a:pt x="8640" y="57240"/>
                    </a:lnTo>
                    <a:lnTo>
                      <a:pt x="0" y="57240"/>
                    </a:lnTo>
                    <a:lnTo>
                      <a:pt x="22200" y="27540"/>
                    </a:lnTo>
                    <a:close/>
                  </a:path>
                </a:pathLst>
              </a:custGeom>
              <a:solidFill>
                <a:srgbClr val="06357A"/>
              </a:solidFill>
              <a:ln w="5989" cap="flat">
                <a:noFill/>
                <a:prstDash val="solid"/>
                <a:miter/>
              </a:ln>
            </p:spPr>
            <p:txBody>
              <a:bodyPr rtlCol="0" anchor="ctr"/>
              <a:lstStyle/>
              <a:p>
                <a:endParaRPr lang="en-GB" dirty="0"/>
              </a:p>
            </p:txBody>
          </p:sp>
        </p:grpSp>
      </p:grpSp>
      <p:pic>
        <p:nvPicPr>
          <p:cNvPr id="49" name="Graphic 48">
            <a:extLst>
              <a:ext uri="{FF2B5EF4-FFF2-40B4-BE49-F238E27FC236}">
                <a16:creationId xmlns:a16="http://schemas.microsoft.com/office/drawing/2014/main" id="{2E8EBBD5-F18A-8816-77C1-A84371DB42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10833" y="438287"/>
            <a:ext cx="2017642" cy="156020"/>
          </a:xfrm>
          <a:prstGeom prst="rect">
            <a:avLst/>
          </a:prstGeom>
        </p:spPr>
      </p:pic>
      <p:cxnSp>
        <p:nvCxnSpPr>
          <p:cNvPr id="51" name="Straight Connector 50">
            <a:extLst>
              <a:ext uri="{FF2B5EF4-FFF2-40B4-BE49-F238E27FC236}">
                <a16:creationId xmlns:a16="http://schemas.microsoft.com/office/drawing/2014/main" id="{729E4BED-0302-0079-D7D4-81083FB37CF4}"/>
              </a:ext>
            </a:extLst>
          </p:cNvPr>
          <p:cNvCxnSpPr>
            <a:cxnSpLocks/>
          </p:cNvCxnSpPr>
          <p:nvPr/>
        </p:nvCxnSpPr>
        <p:spPr>
          <a:xfrm>
            <a:off x="263506" y="1734156"/>
            <a:ext cx="149449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 Placeholder 32">
            <a:extLst>
              <a:ext uri="{FF2B5EF4-FFF2-40B4-BE49-F238E27FC236}">
                <a16:creationId xmlns:a16="http://schemas.microsoft.com/office/drawing/2014/main" id="{827A96E0-1F16-1BF7-87C9-4C66AE382CF0}"/>
              </a:ext>
            </a:extLst>
          </p:cNvPr>
          <p:cNvSpPr>
            <a:spLocks noGrp="1"/>
          </p:cNvSpPr>
          <p:nvPr>
            <p:ph type="body" sz="quarter" idx="18" hasCustomPrompt="1"/>
          </p:nvPr>
        </p:nvSpPr>
        <p:spPr>
          <a:xfrm>
            <a:off x="730674" y="1364301"/>
            <a:ext cx="1836934" cy="184666"/>
          </a:xfrm>
          <a:prstGeom prst="rect">
            <a:avLst/>
          </a:prstGeom>
        </p:spPr>
        <p:txBody>
          <a:bodyPr/>
          <a:lstStyle>
            <a:lvl1pPr>
              <a:lnSpc>
                <a:spcPct val="100000"/>
              </a:lnSpc>
              <a:spcBef>
                <a:spcPts val="0"/>
              </a:spcBef>
              <a:defRPr sz="1200" b="0">
                <a:solidFill>
                  <a:schemeClr val="bg1"/>
                </a:solidFill>
              </a:defRPr>
            </a:lvl1pPr>
          </a:lstStyle>
          <a:p>
            <a:pPr lvl="0"/>
            <a:r>
              <a:rPr lang="en-GB" dirty="0"/>
              <a:t>Date</a:t>
            </a:r>
          </a:p>
        </p:txBody>
      </p:sp>
      <p:sp>
        <p:nvSpPr>
          <p:cNvPr id="4" name="Title 3">
            <a:extLst>
              <a:ext uri="{FF2B5EF4-FFF2-40B4-BE49-F238E27FC236}">
                <a16:creationId xmlns:a16="http://schemas.microsoft.com/office/drawing/2014/main" id="{F884C1FF-581C-0842-D9F5-293D8E12399F}"/>
              </a:ext>
            </a:extLst>
          </p:cNvPr>
          <p:cNvSpPr>
            <a:spLocks noGrp="1"/>
          </p:cNvSpPr>
          <p:nvPr>
            <p:ph type="title"/>
          </p:nvPr>
        </p:nvSpPr>
        <p:spPr>
          <a:xfrm>
            <a:off x="730675" y="1918809"/>
            <a:ext cx="3169082" cy="718145"/>
          </a:xfrm>
        </p:spPr>
        <p:txBody>
          <a:bodyPr/>
          <a:lstStyle>
            <a:lvl1pPr>
              <a:lnSpc>
                <a:spcPts val="2800"/>
              </a:lnSpc>
              <a:defRPr sz="2400" b="1">
                <a:solidFill>
                  <a:schemeClr val="bg1"/>
                </a:solidFill>
              </a:defRPr>
            </a:lvl1pPr>
          </a:lstStyle>
          <a:p>
            <a:r>
              <a:rPr lang="en-US"/>
              <a:t>Click to edit Master title style</a:t>
            </a:r>
            <a:endParaRPr lang="en-GB" dirty="0"/>
          </a:p>
        </p:txBody>
      </p:sp>
      <p:sp>
        <p:nvSpPr>
          <p:cNvPr id="6" name="Text Placeholder 32">
            <a:extLst>
              <a:ext uri="{FF2B5EF4-FFF2-40B4-BE49-F238E27FC236}">
                <a16:creationId xmlns:a16="http://schemas.microsoft.com/office/drawing/2014/main" id="{74A642A1-F7E7-C344-7B8C-E2D1F2240553}"/>
              </a:ext>
            </a:extLst>
          </p:cNvPr>
          <p:cNvSpPr>
            <a:spLocks noGrp="1"/>
          </p:cNvSpPr>
          <p:nvPr>
            <p:ph type="body" sz="quarter" idx="19" hasCustomPrompt="1"/>
          </p:nvPr>
        </p:nvSpPr>
        <p:spPr>
          <a:xfrm>
            <a:off x="730675" y="5744741"/>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dirty="0" err="1"/>
              <a:t>Loyens</a:t>
            </a:r>
            <a:r>
              <a:rPr lang="en-GB" dirty="0"/>
              <a:t> &amp; </a:t>
            </a:r>
            <a:r>
              <a:rPr lang="en-GB" dirty="0" err="1"/>
              <a:t>Loeff</a:t>
            </a:r>
            <a:r>
              <a:rPr lang="en-GB" dirty="0"/>
              <a:t> Practice Group</a:t>
            </a:r>
          </a:p>
        </p:txBody>
      </p:sp>
      <p:cxnSp>
        <p:nvCxnSpPr>
          <p:cNvPr id="7" name="Straight Connector 6">
            <a:extLst>
              <a:ext uri="{FF2B5EF4-FFF2-40B4-BE49-F238E27FC236}">
                <a16:creationId xmlns:a16="http://schemas.microsoft.com/office/drawing/2014/main" id="{C03925A0-DB7D-BEDB-9603-11EB4B4BDC34}"/>
              </a:ext>
            </a:extLst>
          </p:cNvPr>
          <p:cNvCxnSpPr>
            <a:cxnSpLocks/>
          </p:cNvCxnSpPr>
          <p:nvPr/>
        </p:nvCxnSpPr>
        <p:spPr>
          <a:xfrm>
            <a:off x="730675" y="5337212"/>
            <a:ext cx="72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CC196E0-8E84-7F44-FC27-A5457C447B20}"/>
              </a:ext>
            </a:extLst>
          </p:cNvPr>
          <p:cNvSpPr>
            <a:spLocks noGrp="1"/>
          </p:cNvSpPr>
          <p:nvPr>
            <p:ph type="ftr" sz="quarter" idx="21"/>
          </p:nvPr>
        </p:nvSpPr>
        <p:spPr>
          <a:xfrm>
            <a:off x="723076" y="5983400"/>
            <a:ext cx="3176681" cy="138498"/>
          </a:xfrm>
        </p:spPr>
        <p:txBody>
          <a:bodyPr vert="horz" wrap="square" lIns="0" tIns="0" rIns="0" bIns="0" rtlCol="0">
            <a:spAutoFit/>
          </a:bodyPr>
          <a:lstStyle>
            <a:lvl1pPr>
              <a:defRPr lang="en-GB" b="0" smtClean="0">
                <a:solidFill>
                  <a:schemeClr val="bg1"/>
                </a:solidFill>
              </a:defRPr>
            </a:lvl1pPr>
          </a:lstStyle>
          <a:p>
            <a:pPr>
              <a:buFont typeface="Arial" panose="020B0604020202020204" pitchFamily="34" charset="0"/>
              <a:buNone/>
            </a:pPr>
            <a:r>
              <a:rPr lang="nl-NL"/>
              <a:t>DMS number</a:t>
            </a:r>
            <a:endParaRPr lang="nl-NL" dirty="0"/>
          </a:p>
        </p:txBody>
      </p:sp>
    </p:spTree>
    <p:extLst>
      <p:ext uri="{BB962C8B-B14F-4D97-AF65-F5344CB8AC3E}">
        <p14:creationId xmlns:p14="http://schemas.microsoft.com/office/powerpoint/2010/main" val="3618488245"/>
      </p:ext>
    </p:extLst>
  </p:cSld>
  <p:clrMapOvr>
    <a:masterClrMapping/>
  </p:clrMapOvr>
  <p:extLst>
    <p:ext uri="{DCECCB84-F9BA-43D5-87BE-67443E8EF086}">
      <p15:sldGuideLst xmlns:p15="http://schemas.microsoft.com/office/powerpoint/2012/main">
        <p15:guide id="1" pos="461">
          <p15:clr>
            <a:srgbClr val="FBAE40"/>
          </p15:clr>
        </p15:guide>
        <p15:guide id="2" orient="horz" pos="120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Agenda left - image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Agenda title - large image </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11664950"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 name="Text Placeholder 4">
            <a:extLst>
              <a:ext uri="{FF2B5EF4-FFF2-40B4-BE49-F238E27FC236}">
                <a16:creationId xmlns:a16="http://schemas.microsoft.com/office/drawing/2014/main" id="{29256E9E-37D2-B354-F3D4-49B4312178F7}"/>
              </a:ext>
            </a:extLst>
          </p:cNvPr>
          <p:cNvSpPr>
            <a:spLocks noGrp="1"/>
          </p:cNvSpPr>
          <p:nvPr>
            <p:ph type="body" sz="quarter" idx="10" hasCustomPrompt="1"/>
          </p:nvPr>
        </p:nvSpPr>
        <p:spPr>
          <a:xfrm>
            <a:off x="1019436" y="1452563"/>
            <a:ext cx="5644800" cy="2811026"/>
          </a:xfrm>
        </p:spPr>
        <p:txBody>
          <a:bodyPr/>
          <a:lstStyle>
            <a:lvl1pPr marL="442913" indent="-442913">
              <a:buFont typeface="+mj-lt"/>
              <a:buAutoNum type="arabicPeriod"/>
              <a:tabLst>
                <a:tab pos="5561013" algn="r"/>
              </a:tabLst>
              <a:defRPr>
                <a:solidFill>
                  <a:schemeClr val="bg1"/>
                </a:solidFill>
              </a:defRPr>
            </a:lvl1pPr>
            <a:lvl2pPr>
              <a:buClr>
                <a:schemeClr val="accent2">
                  <a:lumMod val="60000"/>
                  <a:lumOff val="40000"/>
                </a:schemeClr>
              </a:buClr>
              <a:tabLst>
                <a:tab pos="5561013" algn="r"/>
              </a:tabLst>
              <a:defRPr>
                <a:solidFill>
                  <a:schemeClr val="bg1"/>
                </a:solidFill>
              </a:defRPr>
            </a:lvl2pPr>
            <a:lvl3pPr>
              <a:buClr>
                <a:schemeClr val="accent2">
                  <a:lumMod val="60000"/>
                  <a:lumOff val="40000"/>
                </a:schemeClr>
              </a:buClr>
              <a:tabLst>
                <a:tab pos="5561013" algn="r"/>
              </a:tabLst>
              <a:defRPr>
                <a:solidFill>
                  <a:schemeClr val="bg1"/>
                </a:solidFill>
              </a:defRPr>
            </a:lvl3pPr>
            <a:lvl4pPr>
              <a:buClr>
                <a:schemeClr val="accent2">
                  <a:lumMod val="60000"/>
                  <a:lumOff val="40000"/>
                </a:schemeClr>
              </a:buClr>
              <a:tabLst>
                <a:tab pos="5561013" algn="r"/>
              </a:tabLst>
              <a:defRPr>
                <a:solidFill>
                  <a:schemeClr val="bg1"/>
                </a:solidFill>
              </a:defRPr>
            </a:lvl4pPr>
            <a:lvl5pPr>
              <a:tabLst>
                <a:tab pos="5561013" algn="r"/>
              </a:tabLst>
              <a:defRPr>
                <a:solidFill>
                  <a:schemeClr val="bg1"/>
                </a:solidFill>
              </a:defRPr>
            </a:lvl5pPr>
            <a:lvl6pPr>
              <a:tabLst>
                <a:tab pos="5561013" algn="r"/>
              </a:tabLst>
              <a:defRPr>
                <a:solidFill>
                  <a:schemeClr val="accent2">
                    <a:lumMod val="60000"/>
                    <a:lumOff val="40000"/>
                  </a:schemeClr>
                </a:solidFill>
              </a:defRPr>
            </a:lvl6pPr>
            <a:lvl7pPr marL="442913" indent="-442913">
              <a:buClr>
                <a:schemeClr val="accent2">
                  <a:lumMod val="60000"/>
                  <a:lumOff val="40000"/>
                </a:schemeClr>
              </a:buClr>
              <a:tabLst>
                <a:tab pos="5561013" algn="r"/>
              </a:tabLst>
              <a:defRPr>
                <a:solidFill>
                  <a:schemeClr val="bg1"/>
                </a:solidFill>
              </a:defRPr>
            </a:lvl7pPr>
            <a:lvl8pPr marL="720725" indent="-268288">
              <a:buClr>
                <a:schemeClr val="accent2">
                  <a:lumMod val="60000"/>
                  <a:lumOff val="40000"/>
                </a:schemeClr>
              </a:buClr>
              <a:tabLst>
                <a:tab pos="5561013" algn="r"/>
              </a:tabLst>
              <a:defRPr>
                <a:solidFill>
                  <a:schemeClr val="bg1"/>
                </a:solidFill>
              </a:defRPr>
            </a:lvl8pPr>
            <a:lvl9pPr>
              <a:tabLst>
                <a:tab pos="5561013"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Tree>
    <p:extLst>
      <p:ext uri="{BB962C8B-B14F-4D97-AF65-F5344CB8AC3E}">
        <p14:creationId xmlns:p14="http://schemas.microsoft.com/office/powerpoint/2010/main" val="2956759480"/>
      </p:ext>
    </p:extLst>
  </p:cSld>
  <p:clrMapOvr>
    <a:masterClrMapping/>
  </p:clrMapOvr>
  <p:extLst>
    <p:ext uri="{DCECCB84-F9BA-43D5-87BE-67443E8EF086}">
      <p15:sldGuideLst xmlns:p15="http://schemas.microsoft.com/office/powerpoint/2012/main">
        <p15:guide id="8" orient="horz" pos="913">
          <p15:clr>
            <a:srgbClr val="FBAE40"/>
          </p15:clr>
        </p15:guide>
        <p15:guide id="9" pos="4203">
          <p15:clr>
            <a:srgbClr val="FBAE40"/>
          </p15:clr>
        </p15:guide>
        <p15:guide id="10" pos="642">
          <p15:clr>
            <a:srgbClr val="FBAE40"/>
          </p15:clr>
        </p15:guide>
        <p15:guide id="11" orient="horz" pos="3929">
          <p15:clr>
            <a:srgbClr val="FBAE40"/>
          </p15:clr>
        </p15:guide>
        <p15:guide id="12" pos="166">
          <p15:clr>
            <a:srgbClr val="FBAE40"/>
          </p15:clr>
        </p15:guide>
        <p15:guide id="13" orient="horz" pos="18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content - image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A5139A-726B-F515-C84C-5D0B68467AF8}"/>
              </a:ext>
            </a:extLst>
          </p:cNvPr>
          <p:cNvSpPr>
            <a:spLocks noGrp="1"/>
          </p:cNvSpPr>
          <p:nvPr>
            <p:ph type="pic" sz="quarter" idx="13" hasCustomPrompt="1"/>
          </p:nvPr>
        </p:nvSpPr>
        <p:spPr>
          <a:xfrm>
            <a:off x="7175500" y="765174"/>
            <a:ext cx="4752974"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720000" tIns="1296000" rIns="720000" bIns="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2" name="Titel 1"/>
          <p:cNvSpPr>
            <a:spLocks noGrp="1"/>
          </p:cNvSpPr>
          <p:nvPr>
            <p:ph type="title" hasCustomPrompt="1"/>
          </p:nvPr>
        </p:nvSpPr>
        <p:spPr/>
        <p:txBody>
          <a:bodyPr/>
          <a:lstStyle>
            <a:lvl1pPr>
              <a:defRPr/>
            </a:lvl1pPr>
          </a:lstStyle>
          <a:p>
            <a:r>
              <a:rPr lang="en-US" noProof="0" dirty="0"/>
              <a:t>Title - image right</a:t>
            </a:r>
            <a:endParaRPr lang="en-GB" dirty="0"/>
          </a:p>
        </p:txBody>
      </p:sp>
      <p:sp>
        <p:nvSpPr>
          <p:cNvPr id="8" name="Text Placeholder 7">
            <a:extLst>
              <a:ext uri="{FF2B5EF4-FFF2-40B4-BE49-F238E27FC236}">
                <a16:creationId xmlns:a16="http://schemas.microsoft.com/office/drawing/2014/main" id="{C775BA39-7D03-4A53-A94E-D3484E6288AA}"/>
              </a:ext>
            </a:extLst>
          </p:cNvPr>
          <p:cNvSpPr>
            <a:spLocks noGrp="1"/>
          </p:cNvSpPr>
          <p:nvPr>
            <p:ph type="body" sz="quarter" idx="10"/>
          </p:nvPr>
        </p:nvSpPr>
        <p:spPr>
          <a:xfrm>
            <a:off x="731838" y="981075"/>
            <a:ext cx="5940425" cy="1856919"/>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75416873"/>
      </p:ext>
    </p:extLst>
  </p:cSld>
  <p:clrMapOvr>
    <a:masterClrMapping/>
  </p:clrMapOvr>
  <p:extLst>
    <p:ext uri="{DCECCB84-F9BA-43D5-87BE-67443E8EF086}">
      <p15:sldGuideLst xmlns:p15="http://schemas.microsoft.com/office/powerpoint/2012/main">
        <p15:guide id="9" orient="horz" pos="4156">
          <p15:clr>
            <a:srgbClr val="F26B43"/>
          </p15:clr>
        </p15:guide>
        <p15:guide id="10" pos="461">
          <p15:clr>
            <a:srgbClr val="F26B43"/>
          </p15:clr>
        </p15:guide>
        <p15:guide id="11" pos="4520">
          <p15:clr>
            <a:srgbClr val="FBAE40"/>
          </p15:clr>
        </p15:guide>
        <p15:guide id="12" pos="4203">
          <p15:clr>
            <a:srgbClr val="F26B43"/>
          </p15:clr>
        </p15:guide>
        <p15:guide id="13" orient="horz" pos="3929">
          <p15:clr>
            <a:srgbClr val="F26B43"/>
          </p15:clr>
        </p15:guide>
        <p15:guide id="14" pos="166">
          <p15:clr>
            <a:srgbClr val="FBAE40"/>
          </p15:clr>
        </p15:guide>
        <p15:guide id="15" orient="horz" pos="187">
          <p15:clr>
            <a:srgbClr val="FBAE40"/>
          </p15:clr>
        </p15:guide>
        <p15:guide id="16" pos="7514">
          <p15:clr>
            <a:srgbClr val="FBAE40"/>
          </p15:clr>
        </p15:guide>
        <p15:guide id="17" orient="horz" pos="618">
          <p15:clr>
            <a:srgbClr val="F26B43"/>
          </p15:clr>
        </p15:guide>
        <p15:guide id="18" orient="horz" pos="482">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982665" y="1124745"/>
            <a:ext cx="4818063" cy="1856919"/>
          </a:xfrm>
        </p:spPr>
        <p:txBody>
          <a:bodyPr>
            <a:spAutoFit/>
          </a:bodyPr>
          <a:lstStyle>
            <a:lvl5pPr marL="0" marR="0"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lvl5pPr>
            <a:lvl6pPr marL="0" marR="0"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lvl6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r>
              <a:rPr lang="en-GB" noProof="0" dirty="0"/>
              <a:t> - Paragraph header</a:t>
            </a:r>
            <a:endParaRPr lang="en-GB" dirty="0"/>
          </a:p>
          <a:p>
            <a:pPr marL="0" marR="0" lvl="5"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pPr>
            <a:r>
              <a:rPr lang="en-GB" dirty="0"/>
              <a:t>Sixth level</a:t>
            </a:r>
            <a:r>
              <a:rPr lang="en-GB" noProof="0" dirty="0"/>
              <a:t> - Paragraph header</a:t>
            </a:r>
            <a:endParaRPr lang="en-GB" dirty="0"/>
          </a:p>
        </p:txBody>
      </p:sp>
      <p:sp>
        <p:nvSpPr>
          <p:cNvPr id="2" name="Titel 1"/>
          <p:cNvSpPr>
            <a:spLocks noGrp="1"/>
          </p:cNvSpPr>
          <p:nvPr>
            <p:ph type="title"/>
          </p:nvPr>
        </p:nvSpPr>
        <p:spPr/>
        <p:txBody>
          <a:bodyPr/>
          <a:lstStyle>
            <a:lvl1pPr>
              <a:defRPr/>
            </a:lvl1pPr>
          </a:lstStyle>
          <a:p>
            <a:r>
              <a:rPr lang="en-GB" noProof="0" dirty="0"/>
              <a:t>Click to edit Master title style</a:t>
            </a:r>
            <a:endParaRPr lang="en-GB" dirty="0"/>
          </a:p>
        </p:txBody>
      </p:sp>
      <p:sp>
        <p:nvSpPr>
          <p:cNvPr id="9" name="Text Placeholder 7"/>
          <p:cNvSpPr>
            <a:spLocks noGrp="1"/>
          </p:cNvSpPr>
          <p:nvPr>
            <p:ph type="body" sz="quarter" idx="14" hasCustomPrompt="1"/>
          </p:nvPr>
        </p:nvSpPr>
        <p:spPr>
          <a:xfrm>
            <a:off x="6383143" y="1124745"/>
            <a:ext cx="4818063" cy="1856919"/>
          </a:xfrm>
        </p:spPr>
        <p:txBody>
          <a:bodyPr>
            <a:spAutoFit/>
          </a:bodyPr>
          <a:lstStyle>
            <a:lvl5pPr marL="0" marR="0"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lvl5pPr>
            <a:lvl6pPr marL="0" marR="0"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lvl6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r>
              <a:rPr lang="en-GB" noProof="0" dirty="0"/>
              <a:t> - Paragraph header</a:t>
            </a:r>
            <a:endParaRPr lang="en-GB" dirty="0"/>
          </a:p>
          <a:p>
            <a:pPr marL="0" marR="0" lvl="5" indent="0" algn="l" defTabSz="822960" rtl="0" eaLnBrk="1" fontAlgn="auto" latinLnBrk="0" hangingPunct="1">
              <a:lnSpc>
                <a:spcPct val="100000"/>
              </a:lnSpc>
              <a:spcBef>
                <a:spcPts val="360"/>
              </a:spcBef>
              <a:spcAft>
                <a:spcPts val="0"/>
              </a:spcAft>
              <a:buClr>
                <a:schemeClr val="accent2"/>
              </a:buClr>
              <a:buSzTx/>
              <a:buFont typeface="Arial" panose="020B0604020202020204" pitchFamily="34" charset="0"/>
              <a:buNone/>
              <a:tabLst/>
              <a:defRPr/>
            </a:pPr>
            <a:r>
              <a:rPr lang="en-GB" dirty="0"/>
              <a:t>Sixth level</a:t>
            </a:r>
            <a:r>
              <a:rPr lang="en-GB" noProof="0" dirty="0"/>
              <a:t> - Paragraph header</a:t>
            </a:r>
            <a:endParaRPr lang="en-GB" dirty="0"/>
          </a:p>
        </p:txBody>
      </p:sp>
      <p:sp>
        <p:nvSpPr>
          <p:cNvPr id="5" name="Text Placeholder 9"/>
          <p:cNvSpPr>
            <a:spLocks noGrp="1"/>
          </p:cNvSpPr>
          <p:nvPr>
            <p:ph type="body" sz="quarter" idx="15" hasCustomPrompt="1"/>
          </p:nvPr>
        </p:nvSpPr>
        <p:spPr>
          <a:xfrm>
            <a:off x="8112226" y="387144"/>
            <a:ext cx="6734063" cy="110800"/>
          </a:xfrm>
        </p:spPr>
        <p:txBody>
          <a:bodyPr/>
          <a:lstStyle>
            <a:lvl1pPr>
              <a:defRPr sz="720" baseline="0"/>
            </a:lvl1pPr>
          </a:lstStyle>
          <a:p>
            <a:r>
              <a:rPr lang="en-US" dirty="0">
                <a:solidFill>
                  <a:srgbClr val="FF0000"/>
                </a:solidFill>
              </a:rPr>
              <a:t>DRAFT – </a:t>
            </a:r>
            <a:r>
              <a:rPr lang="en-US" i="1" dirty="0">
                <a:solidFill>
                  <a:srgbClr val="FF0000"/>
                </a:solidFill>
              </a:rPr>
              <a:t>for discussion purposes only</a:t>
            </a:r>
          </a:p>
        </p:txBody>
      </p:sp>
    </p:spTree>
    <p:extLst>
      <p:ext uri="{BB962C8B-B14F-4D97-AF65-F5344CB8AC3E}">
        <p14:creationId xmlns:p14="http://schemas.microsoft.com/office/powerpoint/2010/main" val="452980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Agenda - team">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C48321-2FA8-9AF6-DE58-91CC7E14F90C}"/>
              </a:ext>
            </a:extLst>
          </p:cNvPr>
          <p:cNvSpPr/>
          <p:nvPr/>
        </p:nvSpPr>
        <p:spPr>
          <a:xfrm>
            <a:off x="263525" y="765174"/>
            <a:ext cx="11664950" cy="5832475"/>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8" name="Graphic 3">
            <a:extLst>
              <a:ext uri="{FF2B5EF4-FFF2-40B4-BE49-F238E27FC236}">
                <a16:creationId xmlns:a16="http://schemas.microsoft.com/office/drawing/2014/main" id="{82173FB4-1259-C15F-51A4-1CC850AD084F}"/>
              </a:ext>
            </a:extLst>
          </p:cNvPr>
          <p:cNvSpPr/>
          <p:nvPr/>
        </p:nvSpPr>
        <p:spPr>
          <a:xfrm>
            <a:off x="8069275" y="765173"/>
            <a:ext cx="3859200" cy="5832000"/>
          </a:xfrm>
          <a:custGeom>
            <a:avLst/>
            <a:gdLst>
              <a:gd name="connsiteX0" fmla="*/ 137 w 3866836"/>
              <a:gd name="connsiteY0" fmla="*/ -75 h 5845303"/>
              <a:gd name="connsiteX1" fmla="*/ 137 w 3866836"/>
              <a:gd name="connsiteY1" fmla="*/ 555992 h 5845303"/>
              <a:gd name="connsiteX2" fmla="*/ 377912 w 3866836"/>
              <a:gd name="connsiteY2" fmla="*/ 933768 h 5845303"/>
              <a:gd name="connsiteX3" fmla="*/ 137 w 3866836"/>
              <a:gd name="connsiteY3" fmla="*/ 1311289 h 5845303"/>
              <a:gd name="connsiteX4" fmla="*/ 137 w 3866836"/>
              <a:gd name="connsiteY4" fmla="*/ 1311416 h 5845303"/>
              <a:gd name="connsiteX5" fmla="*/ 137 w 3866836"/>
              <a:gd name="connsiteY5" fmla="*/ 5845229 h 5845303"/>
              <a:gd name="connsiteX6" fmla="*/ 3866974 w 3866836"/>
              <a:gd name="connsiteY6" fmla="*/ 5845229 h 5845303"/>
              <a:gd name="connsiteX7" fmla="*/ 3866974 w 3866836"/>
              <a:gd name="connsiteY7" fmla="*/ -75 h 584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6836" h="5845303">
                <a:moveTo>
                  <a:pt x="137" y="-75"/>
                </a:moveTo>
                <a:lnTo>
                  <a:pt x="137" y="555992"/>
                </a:lnTo>
                <a:cubicBezTo>
                  <a:pt x="137" y="764638"/>
                  <a:pt x="169267" y="933768"/>
                  <a:pt x="377912" y="933768"/>
                </a:cubicBezTo>
                <a:cubicBezTo>
                  <a:pt x="169343" y="933692"/>
                  <a:pt x="213" y="1102720"/>
                  <a:pt x="137" y="1311289"/>
                </a:cubicBezTo>
                <a:cubicBezTo>
                  <a:pt x="137" y="1311327"/>
                  <a:pt x="137" y="1311378"/>
                  <a:pt x="137" y="1311416"/>
                </a:cubicBezTo>
                <a:lnTo>
                  <a:pt x="137" y="5845229"/>
                </a:lnTo>
                <a:lnTo>
                  <a:pt x="3866974" y="5845229"/>
                </a:lnTo>
                <a:lnTo>
                  <a:pt x="3866974" y="-75"/>
                </a:lnTo>
                <a:close/>
              </a:path>
            </a:pathLst>
          </a:custGeom>
          <a:solidFill>
            <a:schemeClr val="accent2">
              <a:alpha val="55000"/>
            </a:schemeClr>
          </a:solidFill>
          <a:ln w="12679" cap="flat">
            <a:noFill/>
            <a:prstDash val="solid"/>
            <a:miter/>
          </a:ln>
        </p:spPr>
        <p:txBody>
          <a:bodyPr rtlCol="0" anchor="ctr"/>
          <a:lstStyle/>
          <a:p>
            <a:endParaRPr lang="en-GB"/>
          </a:p>
        </p:txBody>
      </p:sp>
      <p:sp>
        <p:nvSpPr>
          <p:cNvPr id="32" name="CVTitleRight_6">
            <a:extLst>
              <a:ext uri="{FF2B5EF4-FFF2-40B4-BE49-F238E27FC236}">
                <a16:creationId xmlns:a16="http://schemas.microsoft.com/office/drawing/2014/main" id="{7804C379-4F0F-5711-EB90-9C26FA676892}"/>
              </a:ext>
            </a:extLst>
          </p:cNvPr>
          <p:cNvSpPr>
            <a:spLocks noGrp="1"/>
          </p:cNvSpPr>
          <p:nvPr>
            <p:ph type="body" sz="quarter" idx="46" hasCustomPrompt="1"/>
          </p:nvPr>
        </p:nvSpPr>
        <p:spPr>
          <a:xfrm>
            <a:off x="10128251" y="5309163"/>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33" name="CVNameRight_6">
            <a:extLst>
              <a:ext uri="{FF2B5EF4-FFF2-40B4-BE49-F238E27FC236}">
                <a16:creationId xmlns:a16="http://schemas.microsoft.com/office/drawing/2014/main" id="{BE3C1C4C-3ACD-D3A2-D4EE-F4BEB21B3D2A}"/>
              </a:ext>
            </a:extLst>
          </p:cNvPr>
          <p:cNvSpPr>
            <a:spLocks noGrp="1"/>
          </p:cNvSpPr>
          <p:nvPr>
            <p:ph type="body" sz="quarter" idx="47" hasCustomPrompt="1"/>
          </p:nvPr>
        </p:nvSpPr>
        <p:spPr>
          <a:xfrm>
            <a:off x="10124715" y="5156404"/>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34" name="CVPictureRight_6">
            <a:extLst>
              <a:ext uri="{FF2B5EF4-FFF2-40B4-BE49-F238E27FC236}">
                <a16:creationId xmlns:a16="http://schemas.microsoft.com/office/drawing/2014/main" id="{2BE804D4-D43B-C44A-1426-EDA848565696}"/>
              </a:ext>
            </a:extLst>
          </p:cNvPr>
          <p:cNvSpPr>
            <a:spLocks noGrp="1"/>
          </p:cNvSpPr>
          <p:nvPr>
            <p:ph type="pic" sz="quarter" idx="48" hasCustomPrompt="1"/>
          </p:nvPr>
        </p:nvSpPr>
        <p:spPr>
          <a:xfrm>
            <a:off x="10128250" y="4272841"/>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0" name="CVTitleRight_5">
            <a:extLst>
              <a:ext uri="{FF2B5EF4-FFF2-40B4-BE49-F238E27FC236}">
                <a16:creationId xmlns:a16="http://schemas.microsoft.com/office/drawing/2014/main" id="{2017A21A-00A4-378B-159E-BB37B3E353C8}"/>
              </a:ext>
            </a:extLst>
          </p:cNvPr>
          <p:cNvSpPr>
            <a:spLocks noGrp="1"/>
          </p:cNvSpPr>
          <p:nvPr>
            <p:ph type="body" sz="quarter" idx="37" hasCustomPrompt="1"/>
          </p:nvPr>
        </p:nvSpPr>
        <p:spPr>
          <a:xfrm>
            <a:off x="8688389" y="5309163"/>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21" name="CVNameRight_5">
            <a:extLst>
              <a:ext uri="{FF2B5EF4-FFF2-40B4-BE49-F238E27FC236}">
                <a16:creationId xmlns:a16="http://schemas.microsoft.com/office/drawing/2014/main" id="{490B0B0D-8D84-8DE8-2A15-DE82A62B03A0}"/>
              </a:ext>
            </a:extLst>
          </p:cNvPr>
          <p:cNvSpPr>
            <a:spLocks noGrp="1"/>
          </p:cNvSpPr>
          <p:nvPr>
            <p:ph type="body" sz="quarter" idx="38" hasCustomPrompt="1"/>
          </p:nvPr>
        </p:nvSpPr>
        <p:spPr>
          <a:xfrm>
            <a:off x="8684853" y="5156404"/>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22" name="CVPictureRight_5">
            <a:extLst>
              <a:ext uri="{FF2B5EF4-FFF2-40B4-BE49-F238E27FC236}">
                <a16:creationId xmlns:a16="http://schemas.microsoft.com/office/drawing/2014/main" id="{059BD4B4-D622-3197-E9EA-118BA0F8ECDB}"/>
              </a:ext>
            </a:extLst>
          </p:cNvPr>
          <p:cNvSpPr>
            <a:spLocks noGrp="1"/>
          </p:cNvSpPr>
          <p:nvPr>
            <p:ph type="pic" sz="quarter" idx="39" hasCustomPrompt="1"/>
          </p:nvPr>
        </p:nvSpPr>
        <p:spPr>
          <a:xfrm>
            <a:off x="8688388" y="4272841"/>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9" name="CVTitleRight_4">
            <a:extLst>
              <a:ext uri="{FF2B5EF4-FFF2-40B4-BE49-F238E27FC236}">
                <a16:creationId xmlns:a16="http://schemas.microsoft.com/office/drawing/2014/main" id="{FB4EC896-7788-49C9-E57A-03AD79392AB0}"/>
              </a:ext>
            </a:extLst>
          </p:cNvPr>
          <p:cNvSpPr>
            <a:spLocks noGrp="1"/>
          </p:cNvSpPr>
          <p:nvPr>
            <p:ph type="body" sz="quarter" idx="43" hasCustomPrompt="1"/>
          </p:nvPr>
        </p:nvSpPr>
        <p:spPr>
          <a:xfrm>
            <a:off x="10128251" y="3899024"/>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30" name="CVNameRight_4">
            <a:extLst>
              <a:ext uri="{FF2B5EF4-FFF2-40B4-BE49-F238E27FC236}">
                <a16:creationId xmlns:a16="http://schemas.microsoft.com/office/drawing/2014/main" id="{93F64767-D506-5D09-7DF5-17FFBB2ECB97}"/>
              </a:ext>
            </a:extLst>
          </p:cNvPr>
          <p:cNvSpPr>
            <a:spLocks noGrp="1"/>
          </p:cNvSpPr>
          <p:nvPr>
            <p:ph type="body" sz="quarter" idx="44" hasCustomPrompt="1"/>
          </p:nvPr>
        </p:nvSpPr>
        <p:spPr>
          <a:xfrm>
            <a:off x="10124715" y="3746265"/>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31" name="CVPictureRight_4">
            <a:extLst>
              <a:ext uri="{FF2B5EF4-FFF2-40B4-BE49-F238E27FC236}">
                <a16:creationId xmlns:a16="http://schemas.microsoft.com/office/drawing/2014/main" id="{562BCD55-1172-619D-A99C-9AA330F363C4}"/>
              </a:ext>
            </a:extLst>
          </p:cNvPr>
          <p:cNvSpPr>
            <a:spLocks noGrp="1"/>
          </p:cNvSpPr>
          <p:nvPr>
            <p:ph type="pic" sz="quarter" idx="45" hasCustomPrompt="1"/>
          </p:nvPr>
        </p:nvSpPr>
        <p:spPr>
          <a:xfrm>
            <a:off x="10128250" y="2862702"/>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14" name="CVTitleRight_3">
            <a:extLst>
              <a:ext uri="{FF2B5EF4-FFF2-40B4-BE49-F238E27FC236}">
                <a16:creationId xmlns:a16="http://schemas.microsoft.com/office/drawing/2014/main" id="{DCB01CE9-74EA-9592-8D2E-2797D3367307}"/>
              </a:ext>
            </a:extLst>
          </p:cNvPr>
          <p:cNvSpPr>
            <a:spLocks noGrp="1"/>
          </p:cNvSpPr>
          <p:nvPr>
            <p:ph type="body" sz="quarter" idx="31" hasCustomPrompt="1"/>
          </p:nvPr>
        </p:nvSpPr>
        <p:spPr>
          <a:xfrm>
            <a:off x="8688389" y="3899024"/>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15" name="CVNameRight_3">
            <a:extLst>
              <a:ext uri="{FF2B5EF4-FFF2-40B4-BE49-F238E27FC236}">
                <a16:creationId xmlns:a16="http://schemas.microsoft.com/office/drawing/2014/main" id="{0F1A3332-BAF3-0CD5-D6A1-CF1B1CBEB9E9}"/>
              </a:ext>
            </a:extLst>
          </p:cNvPr>
          <p:cNvSpPr>
            <a:spLocks noGrp="1"/>
          </p:cNvSpPr>
          <p:nvPr>
            <p:ph type="body" sz="quarter" idx="32" hasCustomPrompt="1"/>
          </p:nvPr>
        </p:nvSpPr>
        <p:spPr>
          <a:xfrm>
            <a:off x="8684853" y="3746265"/>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16" name="CVPictureRight_3">
            <a:extLst>
              <a:ext uri="{FF2B5EF4-FFF2-40B4-BE49-F238E27FC236}">
                <a16:creationId xmlns:a16="http://schemas.microsoft.com/office/drawing/2014/main" id="{2E98674B-F19D-F738-E802-6F9C12233152}"/>
              </a:ext>
            </a:extLst>
          </p:cNvPr>
          <p:cNvSpPr>
            <a:spLocks noGrp="1"/>
          </p:cNvSpPr>
          <p:nvPr>
            <p:ph type="pic" sz="quarter" idx="33" hasCustomPrompt="1"/>
          </p:nvPr>
        </p:nvSpPr>
        <p:spPr>
          <a:xfrm>
            <a:off x="8688388" y="2862702"/>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7" name="CVTitleRight_2">
            <a:extLst>
              <a:ext uri="{FF2B5EF4-FFF2-40B4-BE49-F238E27FC236}">
                <a16:creationId xmlns:a16="http://schemas.microsoft.com/office/drawing/2014/main" id="{D7A4F63E-F8ED-D17A-F2A0-A3B0C6F1E41C}"/>
              </a:ext>
            </a:extLst>
          </p:cNvPr>
          <p:cNvSpPr>
            <a:spLocks noGrp="1"/>
          </p:cNvSpPr>
          <p:nvPr>
            <p:ph type="body" sz="quarter" idx="41" hasCustomPrompt="1"/>
          </p:nvPr>
        </p:nvSpPr>
        <p:spPr>
          <a:xfrm>
            <a:off x="10124715" y="2336126"/>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26" name="CVNameRight_2">
            <a:extLst>
              <a:ext uri="{FF2B5EF4-FFF2-40B4-BE49-F238E27FC236}">
                <a16:creationId xmlns:a16="http://schemas.microsoft.com/office/drawing/2014/main" id="{71DB06B4-B6E6-5F19-7705-96A7674860DB}"/>
              </a:ext>
            </a:extLst>
          </p:cNvPr>
          <p:cNvSpPr>
            <a:spLocks noGrp="1"/>
          </p:cNvSpPr>
          <p:nvPr>
            <p:ph type="body" sz="quarter" idx="40" hasCustomPrompt="1"/>
          </p:nvPr>
        </p:nvSpPr>
        <p:spPr>
          <a:xfrm>
            <a:off x="10128251" y="2488885"/>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28" name="CVPictureRight_2">
            <a:extLst>
              <a:ext uri="{FF2B5EF4-FFF2-40B4-BE49-F238E27FC236}">
                <a16:creationId xmlns:a16="http://schemas.microsoft.com/office/drawing/2014/main" id="{E5BF4071-139F-F972-7CCB-8194CF50CCD1}"/>
              </a:ext>
            </a:extLst>
          </p:cNvPr>
          <p:cNvSpPr>
            <a:spLocks noGrp="1"/>
          </p:cNvSpPr>
          <p:nvPr>
            <p:ph type="pic" sz="quarter" idx="42" hasCustomPrompt="1"/>
          </p:nvPr>
        </p:nvSpPr>
        <p:spPr>
          <a:xfrm>
            <a:off x="10128250" y="1452563"/>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9" name="CVTitleRight_1">
            <a:extLst>
              <a:ext uri="{FF2B5EF4-FFF2-40B4-BE49-F238E27FC236}">
                <a16:creationId xmlns:a16="http://schemas.microsoft.com/office/drawing/2014/main" id="{C898F09C-89B0-9056-793E-06C7744EBE33}"/>
              </a:ext>
            </a:extLst>
          </p:cNvPr>
          <p:cNvSpPr>
            <a:spLocks noGrp="1"/>
          </p:cNvSpPr>
          <p:nvPr>
            <p:ph type="body" sz="quarter" idx="14" hasCustomPrompt="1"/>
          </p:nvPr>
        </p:nvSpPr>
        <p:spPr>
          <a:xfrm>
            <a:off x="8688389" y="2488885"/>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10" name="CVNameRight_1">
            <a:extLst>
              <a:ext uri="{FF2B5EF4-FFF2-40B4-BE49-F238E27FC236}">
                <a16:creationId xmlns:a16="http://schemas.microsoft.com/office/drawing/2014/main" id="{A7FF3AA9-CF13-DB05-5E8D-51DBFD2CBAF3}"/>
              </a:ext>
            </a:extLst>
          </p:cNvPr>
          <p:cNvSpPr>
            <a:spLocks noGrp="1"/>
          </p:cNvSpPr>
          <p:nvPr>
            <p:ph type="body" sz="quarter" idx="27" hasCustomPrompt="1"/>
          </p:nvPr>
        </p:nvSpPr>
        <p:spPr>
          <a:xfrm>
            <a:off x="8684853" y="2336126"/>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11" name="CVPictureRight_1">
            <a:extLst>
              <a:ext uri="{FF2B5EF4-FFF2-40B4-BE49-F238E27FC236}">
                <a16:creationId xmlns:a16="http://schemas.microsoft.com/office/drawing/2014/main" id="{4615892E-80E5-0B4C-235A-9C12ECD318E6}"/>
              </a:ext>
            </a:extLst>
          </p:cNvPr>
          <p:cNvSpPr>
            <a:spLocks noGrp="1"/>
          </p:cNvSpPr>
          <p:nvPr>
            <p:ph type="pic" sz="quarter" idx="13" hasCustomPrompt="1"/>
          </p:nvPr>
        </p:nvSpPr>
        <p:spPr>
          <a:xfrm>
            <a:off x="8688388" y="1452563"/>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4" name="Text Placeholder 4">
            <a:extLst>
              <a:ext uri="{FF2B5EF4-FFF2-40B4-BE49-F238E27FC236}">
                <a16:creationId xmlns:a16="http://schemas.microsoft.com/office/drawing/2014/main" id="{96929135-4A90-00E9-BAD9-BAF268957D81}"/>
              </a:ext>
            </a:extLst>
          </p:cNvPr>
          <p:cNvSpPr>
            <a:spLocks noGrp="1"/>
          </p:cNvSpPr>
          <p:nvPr>
            <p:ph type="body" sz="quarter" idx="10" hasCustomPrompt="1"/>
          </p:nvPr>
        </p:nvSpPr>
        <p:spPr>
          <a:xfrm>
            <a:off x="1019436" y="1452563"/>
            <a:ext cx="5616624" cy="2811026"/>
          </a:xfrm>
        </p:spPr>
        <p:txBody>
          <a:bodyPr/>
          <a:lstStyle>
            <a:lvl1pPr marL="442913" indent="-442913">
              <a:buFont typeface="+mj-lt"/>
              <a:buAutoNum type="arabicPeriod"/>
              <a:tabLst>
                <a:tab pos="5561013" algn="r"/>
              </a:tabLst>
              <a:defRPr>
                <a:solidFill>
                  <a:schemeClr val="bg1"/>
                </a:solidFill>
              </a:defRPr>
            </a:lvl1pPr>
            <a:lvl2pPr>
              <a:buClr>
                <a:schemeClr val="accent2">
                  <a:lumMod val="60000"/>
                  <a:lumOff val="40000"/>
                </a:schemeClr>
              </a:buClr>
              <a:tabLst>
                <a:tab pos="5561013" algn="r"/>
              </a:tabLst>
              <a:defRPr>
                <a:solidFill>
                  <a:schemeClr val="bg1"/>
                </a:solidFill>
              </a:defRPr>
            </a:lvl2pPr>
            <a:lvl3pPr>
              <a:buClr>
                <a:schemeClr val="accent2">
                  <a:lumMod val="60000"/>
                  <a:lumOff val="40000"/>
                </a:schemeClr>
              </a:buClr>
              <a:tabLst>
                <a:tab pos="5561013" algn="r"/>
              </a:tabLst>
              <a:defRPr>
                <a:solidFill>
                  <a:schemeClr val="bg1"/>
                </a:solidFill>
              </a:defRPr>
            </a:lvl3pPr>
            <a:lvl4pPr>
              <a:buClr>
                <a:schemeClr val="accent2">
                  <a:lumMod val="60000"/>
                  <a:lumOff val="40000"/>
                </a:schemeClr>
              </a:buClr>
              <a:tabLst>
                <a:tab pos="5561013" algn="r"/>
              </a:tabLst>
              <a:defRPr>
                <a:solidFill>
                  <a:schemeClr val="bg1"/>
                </a:solidFill>
              </a:defRPr>
            </a:lvl4pPr>
            <a:lvl5pPr>
              <a:tabLst>
                <a:tab pos="5561013" algn="r"/>
              </a:tabLst>
              <a:defRPr>
                <a:solidFill>
                  <a:schemeClr val="bg1"/>
                </a:solidFill>
              </a:defRPr>
            </a:lvl5pPr>
            <a:lvl6pPr>
              <a:tabLst>
                <a:tab pos="5561013" algn="r"/>
              </a:tabLst>
              <a:defRPr>
                <a:solidFill>
                  <a:schemeClr val="accent2">
                    <a:lumMod val="60000"/>
                    <a:lumOff val="40000"/>
                  </a:schemeClr>
                </a:solidFill>
              </a:defRPr>
            </a:lvl6pPr>
            <a:lvl7pPr marL="442913" indent="-442913">
              <a:buClr>
                <a:schemeClr val="accent2">
                  <a:lumMod val="60000"/>
                  <a:lumOff val="40000"/>
                </a:schemeClr>
              </a:buClr>
              <a:tabLst>
                <a:tab pos="5561013" algn="r"/>
              </a:tabLst>
              <a:defRPr>
                <a:solidFill>
                  <a:schemeClr val="bg1"/>
                </a:solidFill>
              </a:defRPr>
            </a:lvl7pPr>
            <a:lvl8pPr marL="720725" indent="-268288">
              <a:buClr>
                <a:schemeClr val="accent2">
                  <a:lumMod val="60000"/>
                  <a:lumOff val="40000"/>
                </a:schemeClr>
              </a:buClr>
              <a:tabLst>
                <a:tab pos="5561013" algn="r"/>
              </a:tabLst>
              <a:defRPr>
                <a:solidFill>
                  <a:schemeClr val="bg1"/>
                </a:solidFill>
              </a:defRPr>
            </a:lvl8pPr>
            <a:lvl9pPr>
              <a:tabLst>
                <a:tab pos="5561013"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
        <p:nvSpPr>
          <p:cNvPr id="2" name="Titel 1"/>
          <p:cNvSpPr>
            <a:spLocks noGrp="1"/>
          </p:cNvSpPr>
          <p:nvPr>
            <p:ph type="title" hasCustomPrompt="1"/>
          </p:nvPr>
        </p:nvSpPr>
        <p:spPr/>
        <p:txBody>
          <a:bodyPr/>
          <a:lstStyle>
            <a:lvl1pPr>
              <a:defRPr/>
            </a:lvl1pPr>
          </a:lstStyle>
          <a:p>
            <a:r>
              <a:rPr lang="en-US" noProof="0" dirty="0"/>
              <a:t>Agenda with contact details – place title here</a:t>
            </a:r>
            <a:endParaRPr lang="en-GB" dirty="0"/>
          </a:p>
        </p:txBody>
      </p:sp>
    </p:spTree>
    <p:extLst>
      <p:ext uri="{BB962C8B-B14F-4D97-AF65-F5344CB8AC3E}">
        <p14:creationId xmlns:p14="http://schemas.microsoft.com/office/powerpoint/2010/main" val="3912050607"/>
      </p:ext>
    </p:extLst>
  </p:cSld>
  <p:clrMapOvr>
    <a:masterClrMapping/>
  </p:clrMapOvr>
  <p:extLst>
    <p:ext uri="{DCECCB84-F9BA-43D5-87BE-67443E8EF086}">
      <p15:sldGuideLst xmlns:p15="http://schemas.microsoft.com/office/powerpoint/2012/main">
        <p15:guide id="10" orient="horz" pos="187">
          <p15:clr>
            <a:srgbClr val="FBAE40"/>
          </p15:clr>
        </p15:guide>
        <p15:guide id="11" pos="4180">
          <p15:clr>
            <a:srgbClr val="FBAE40"/>
          </p15:clr>
        </p15:guide>
        <p15:guide id="12" orient="horz" pos="3929">
          <p15:clr>
            <a:srgbClr val="FBAE40"/>
          </p15:clr>
        </p15:guide>
        <p15:guide id="13" orient="horz" pos="913">
          <p15:clr>
            <a:srgbClr val="FBAE40"/>
          </p15:clr>
        </p15:guide>
        <p15:guide id="14" pos="642">
          <p15:clr>
            <a:srgbClr val="FBAE40"/>
          </p15:clr>
        </p15:guide>
        <p15:guide id="15" pos="166">
          <p15:clr>
            <a:srgbClr val="FBAE40"/>
          </p15:clr>
        </p15:guide>
        <p15:guide id="16" pos="5473">
          <p15:clr>
            <a:srgbClr val="FBAE40"/>
          </p15:clr>
        </p15:guide>
        <p15:guide id="17" pos="63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L One colum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a:t>Click to edit Master title style</a:t>
            </a:r>
            <a:endParaRPr lang="en-GB" dirty="0"/>
          </a:p>
        </p:txBody>
      </p:sp>
      <p:sp>
        <p:nvSpPr>
          <p:cNvPr id="8" name="Text Placeholder 7">
            <a:extLst>
              <a:ext uri="{FF2B5EF4-FFF2-40B4-BE49-F238E27FC236}">
                <a16:creationId xmlns:a16="http://schemas.microsoft.com/office/drawing/2014/main" id="{C775BA39-7D03-4A53-A94E-D3484E6288AA}"/>
              </a:ext>
            </a:extLst>
          </p:cNvPr>
          <p:cNvSpPr>
            <a:spLocks noGrp="1"/>
          </p:cNvSpPr>
          <p:nvPr>
            <p:ph type="body" sz="quarter" idx="10"/>
          </p:nvPr>
        </p:nvSpPr>
        <p:spPr>
          <a:xfrm>
            <a:off x="731838" y="981075"/>
            <a:ext cx="8243887" cy="1856919"/>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84056821"/>
      </p:ext>
    </p:extLst>
  </p:cSld>
  <p:clrMapOvr>
    <a:masterClrMapping/>
  </p:clrMapOvr>
  <p:extLst>
    <p:ext uri="{DCECCB84-F9BA-43D5-87BE-67443E8EF086}">
      <p15:sldGuideLst xmlns:p15="http://schemas.microsoft.com/office/powerpoint/2012/main">
        <p15:guide id="8" pos="3840">
          <p15:clr>
            <a:srgbClr val="F26B43"/>
          </p15:clr>
        </p15:guide>
        <p15:guide id="9" pos="166">
          <p15:clr>
            <a:srgbClr val="FBAE40"/>
          </p15:clr>
        </p15:guide>
        <p15:guide id="10" pos="7514">
          <p15:clr>
            <a:srgbClr val="FBAE40"/>
          </p15:clr>
        </p15:guide>
        <p15:guide id="11" pos="3659">
          <p15:clr>
            <a:srgbClr val="FBAE40"/>
          </p15:clr>
        </p15:guide>
        <p15:guide id="12" pos="4021">
          <p15:clr>
            <a:srgbClr val="FBAE40"/>
          </p15:clr>
        </p15:guide>
        <p15:guide id="13" orient="horz" pos="618">
          <p15:clr>
            <a:srgbClr val="F26B43"/>
          </p15:clr>
        </p15:guide>
        <p15:guide id="14" orient="horz" pos="187">
          <p15:clr>
            <a:srgbClr val="FBAE40"/>
          </p15:clr>
        </p15:guide>
        <p15:guide id="15" pos="461">
          <p15:clr>
            <a:srgbClr val="F26B43"/>
          </p15:clr>
        </p15:guide>
        <p15:guide id="16" pos="7219">
          <p15:clr>
            <a:srgbClr val="F26B43"/>
          </p15:clr>
        </p15:guide>
        <p15:guide id="17" pos="5654">
          <p15:clr>
            <a:srgbClr val="5ACBF0"/>
          </p15:clr>
        </p15:guide>
        <p15:guide id="19" orient="horz" pos="3929">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1_LL One column">
    <p:spTree>
      <p:nvGrpSpPr>
        <p:cNvPr id="1" name=""/>
        <p:cNvGrpSpPr/>
        <p:nvPr/>
      </p:nvGrpSpPr>
      <p:grpSpPr>
        <a:xfrm>
          <a:off x="0" y="0"/>
          <a:ext cx="0" cy="0"/>
          <a:chOff x="0" y="0"/>
          <a:chExt cx="0" cy="0"/>
        </a:xfrm>
      </p:grpSpPr>
      <p:sp>
        <p:nvSpPr>
          <p:cNvPr id="1211" name="Tekst tytułowy"/>
          <p:cNvSpPr txBox="1">
            <a:spLocks noGrp="1"/>
          </p:cNvSpPr>
          <p:nvPr>
            <p:ph type="title"/>
          </p:nvPr>
        </p:nvSpPr>
        <p:spPr>
          <a:xfrm>
            <a:off x="300039" y="296863"/>
            <a:ext cx="8892307" cy="387800"/>
          </a:xfrm>
          <a:prstGeom prst="rect">
            <a:avLst/>
          </a:prstGeom>
        </p:spPr>
        <p:txBody>
          <a:bodyPr/>
          <a:lstStyle>
            <a:lvl1pPr>
              <a:defRPr sz="2800">
                <a:solidFill>
                  <a:schemeClr val="accent1"/>
                </a:solidFill>
                <a:latin typeface="Arial"/>
                <a:ea typeface="Arial"/>
                <a:cs typeface="Arial"/>
                <a:sym typeface="Arial"/>
              </a:defRPr>
            </a:lvl1pPr>
          </a:lstStyle>
          <a:p>
            <a:r>
              <a:t>Tekst tytułowy</a:t>
            </a:r>
          </a:p>
        </p:txBody>
      </p:sp>
      <p:sp>
        <p:nvSpPr>
          <p:cNvPr id="1212" name="Treść - poziom 1…"/>
          <p:cNvSpPr txBox="1">
            <a:spLocks noGrp="1"/>
          </p:cNvSpPr>
          <p:nvPr>
            <p:ph type="body" sz="half" idx="1" hasCustomPrompt="1"/>
          </p:nvPr>
        </p:nvSpPr>
        <p:spPr>
          <a:xfrm>
            <a:off x="982662" y="1124744"/>
            <a:ext cx="8208964" cy="2041587"/>
          </a:xfrm>
          <a:prstGeom prst="rect">
            <a:avLst/>
          </a:prstGeom>
        </p:spPr>
        <p:txBody>
          <a:bodyPr>
            <a:normAutofit/>
          </a:bodyPr>
          <a:lstStyle/>
          <a:p>
            <a:r>
              <a:t>Edit Master text styles</a:t>
            </a:r>
          </a:p>
          <a:p>
            <a:pPr lvl="1"/>
            <a:endParaRPr/>
          </a:p>
          <a:p>
            <a:pPr lvl="2"/>
            <a:endParaRPr/>
          </a:p>
          <a:p>
            <a:pPr lvl="3"/>
            <a:endParaRPr/>
          </a:p>
          <a:p>
            <a:pPr lvl="4"/>
            <a:endParaRPr/>
          </a:p>
        </p:txBody>
      </p:sp>
      <p:sp>
        <p:nvSpPr>
          <p:cNvPr id="1213" name="Numer slajdu"/>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37041813"/>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LL One colum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7" name="Text Placeholder 6"/>
          <p:cNvSpPr>
            <a:spLocks noGrp="1"/>
          </p:cNvSpPr>
          <p:nvPr>
            <p:ph type="body" sz="quarter" idx="13" hasCustomPrompt="1"/>
          </p:nvPr>
        </p:nvSpPr>
        <p:spPr>
          <a:xfrm>
            <a:off x="982663" y="1124744"/>
            <a:ext cx="8208962" cy="2041585"/>
          </a:xfrm>
        </p:spPr>
        <p:txBody>
          <a:bodyPr>
            <a:spAutoFit/>
          </a:bodyPr>
          <a:lstStyle>
            <a:lvl5pPr>
              <a:defRPr baseline="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lvl="5"/>
            <a:r>
              <a:rPr lang="en-GB"/>
              <a:t>Sixth level</a:t>
            </a:r>
            <a:r>
              <a:rPr lang="en-GB" noProof="0"/>
              <a:t> - Paragraph header</a:t>
            </a:r>
            <a:endParaRPr lang="en-GB"/>
          </a:p>
        </p:txBody>
      </p:sp>
    </p:spTree>
    <p:extLst>
      <p:ext uri="{BB962C8B-B14F-4D97-AF65-F5344CB8AC3E}">
        <p14:creationId xmlns:p14="http://schemas.microsoft.com/office/powerpoint/2010/main" val="3589548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LL Coversheet">
    <p:spTree>
      <p:nvGrpSpPr>
        <p:cNvPr id="1" name=""/>
        <p:cNvGrpSpPr/>
        <p:nvPr/>
      </p:nvGrpSpPr>
      <p:grpSpPr>
        <a:xfrm>
          <a:off x="0" y="0"/>
          <a:ext cx="0" cy="0"/>
          <a:chOff x="0" y="0"/>
          <a:chExt cx="0" cy="0"/>
        </a:xfrm>
      </p:grpSpPr>
      <p:sp>
        <p:nvSpPr>
          <p:cNvPr id="5" name="Footer Placeholder 4"/>
          <p:cNvSpPr>
            <a:spLocks noGrp="1"/>
          </p:cNvSpPr>
          <p:nvPr>
            <p:ph type="ftr" sz="quarter" idx="17"/>
          </p:nvPr>
        </p:nvSpPr>
        <p:spPr>
          <a:xfrm>
            <a:off x="982663" y="6524573"/>
            <a:ext cx="4826000" cy="138499"/>
          </a:xfrm>
          <a:prstGeom prst="rect">
            <a:avLst/>
          </a:prstGeom>
        </p:spPr>
        <p:txBody>
          <a:bodyPr lIns="0" tIns="0" rIns="0" bIns="0">
            <a:spAutoFit/>
          </a:bodyPr>
          <a:lstStyle>
            <a:lvl1pPr>
              <a:defRPr sz="900">
                <a:solidFill>
                  <a:schemeClr val="accent5"/>
                </a:solidFill>
              </a:defRPr>
            </a:lvl1pPr>
          </a:lstStyle>
          <a:p>
            <a:r>
              <a:rPr lang="en-GB"/>
              <a:t>DMS number</a:t>
            </a:r>
          </a:p>
        </p:txBody>
      </p:sp>
      <p:sp>
        <p:nvSpPr>
          <p:cNvPr id="22" name="Rectangle 21"/>
          <p:cNvSpPr/>
          <p:nvPr userDrawn="1"/>
        </p:nvSpPr>
        <p:spPr>
          <a:xfrm>
            <a:off x="300039" y="296864"/>
            <a:ext cx="11591924" cy="38877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L&amp;L Brandbox"/>
          <p:cNvGrpSpPr/>
          <p:nvPr userDrawn="1"/>
        </p:nvGrpSpPr>
        <p:grpSpPr>
          <a:xfrm>
            <a:off x="8962934" y="3185478"/>
            <a:ext cx="3229066" cy="1999563"/>
            <a:chOff x="8962934" y="3185478"/>
            <a:chExt cx="3229066" cy="1999563"/>
          </a:xfrm>
        </p:grpSpPr>
        <p:sp>
          <p:nvSpPr>
            <p:cNvPr id="7"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sp>
          <p:nvSpPr>
            <p:cNvPr id="21" name="Freeform: Shape 20"/>
            <p:cNvSpPr/>
            <p:nvPr/>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nvGrpSpPr>
            <p:cNvPr id="25" name="Logo L&amp;L"/>
            <p:cNvGrpSpPr/>
            <p:nvPr userDrawn="1"/>
          </p:nvGrpSpPr>
          <p:grpSpPr>
            <a:xfrm>
              <a:off x="9710831" y="3461481"/>
              <a:ext cx="2040634" cy="353598"/>
              <a:chOff x="990600" y="-7938"/>
              <a:chExt cx="10645776" cy="1844675"/>
            </a:xfrm>
            <a:solidFill>
              <a:schemeClr val="bg1"/>
            </a:solidFill>
          </p:grpSpPr>
          <p:sp>
            <p:nvSpPr>
              <p:cNvPr id="26"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7"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8"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1"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2"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grpSp>
      <p:sp>
        <p:nvSpPr>
          <p:cNvPr id="2" name="Titel 1"/>
          <p:cNvSpPr>
            <a:spLocks noGrp="1"/>
          </p:cNvSpPr>
          <p:nvPr>
            <p:ph type="ctrTitle"/>
          </p:nvPr>
        </p:nvSpPr>
        <p:spPr>
          <a:xfrm>
            <a:off x="982663" y="4854196"/>
            <a:ext cx="7849641" cy="443198"/>
          </a:xfrm>
        </p:spPr>
        <p:txBody>
          <a:bodyPr wrap="square" anchor="b" anchorCtr="0">
            <a:spAutoFit/>
          </a:bodyPr>
          <a:lstStyle>
            <a:lvl1pPr algn="l">
              <a:lnSpc>
                <a:spcPct val="90000"/>
              </a:lnSpc>
              <a:defRPr sz="3200">
                <a:latin typeface="Arial Black" panose="020B0A04020102020204" pitchFamily="34" charset="0"/>
              </a:defRPr>
            </a:lvl1pPr>
          </a:lstStyle>
          <a:p>
            <a:r>
              <a:rPr lang="en-GB" noProof="0"/>
              <a:t>Click to edit Master title style</a:t>
            </a:r>
            <a:endParaRPr lang="en-GB"/>
          </a:p>
        </p:txBody>
      </p:sp>
      <p:sp>
        <p:nvSpPr>
          <p:cNvPr id="3" name="Ondertitel 2"/>
          <p:cNvSpPr>
            <a:spLocks noGrp="1"/>
          </p:cNvSpPr>
          <p:nvPr>
            <p:ph type="subTitle" idx="1" hasCustomPrompt="1"/>
          </p:nvPr>
        </p:nvSpPr>
        <p:spPr>
          <a:xfrm>
            <a:off x="982663" y="5571089"/>
            <a:ext cx="7850187" cy="276999"/>
          </a:xfrm>
          <a:prstGeom prst="rect">
            <a:avLst/>
          </a:prstGeom>
        </p:spPr>
        <p:txBody>
          <a:bodyPr wrap="square" anchor="ctr">
            <a:spAutoFit/>
          </a:bodyPr>
          <a:lstStyle>
            <a:lvl1pPr marL="0" indent="0" algn="l">
              <a:lnSpc>
                <a:spcPct val="100000"/>
              </a:lnSpc>
              <a:spcBef>
                <a:spcPts val="0"/>
              </a:spcBef>
              <a:buNone/>
              <a:defRPr sz="18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sp>
        <p:nvSpPr>
          <p:cNvPr id="33" name="Text Placeholder 32"/>
          <p:cNvSpPr>
            <a:spLocks noGrp="1"/>
          </p:cNvSpPr>
          <p:nvPr>
            <p:ph type="body" sz="quarter" idx="14" hasCustomPrompt="1"/>
          </p:nvPr>
        </p:nvSpPr>
        <p:spPr>
          <a:xfrm>
            <a:off x="982663" y="6200775"/>
            <a:ext cx="7850187" cy="169277"/>
          </a:xfrm>
          <a:prstGeom prst="rect">
            <a:avLst/>
          </a:prstGeom>
        </p:spPr>
        <p:txBody>
          <a:bodyPr/>
          <a:lstStyle>
            <a:lvl1pPr>
              <a:lnSpc>
                <a:spcPct val="100000"/>
              </a:lnSpc>
              <a:spcBef>
                <a:spcPts val="0"/>
              </a:spcBef>
              <a:defRPr sz="1100" b="0">
                <a:solidFill>
                  <a:schemeClr val="accent4"/>
                </a:solidFill>
              </a:defRPr>
            </a:lvl1pPr>
          </a:lstStyle>
          <a:p>
            <a:pPr lvl="0"/>
            <a:r>
              <a:rPr lang="en-GB"/>
              <a:t>Place, date  -  Name / Team</a:t>
            </a:r>
          </a:p>
        </p:txBody>
      </p:sp>
      <p:sp>
        <p:nvSpPr>
          <p:cNvPr id="34" name="Name team"/>
          <p:cNvSpPr>
            <a:spLocks noGrp="1"/>
          </p:cNvSpPr>
          <p:nvPr>
            <p:ph type="body" sz="quarter" idx="15" hasCustomPrompt="1"/>
          </p:nvPr>
        </p:nvSpPr>
        <p:spPr>
          <a:xfrm>
            <a:off x="9710832" y="4531525"/>
            <a:ext cx="2040634" cy="184666"/>
          </a:xfrm>
          <a:prstGeom prst="rect">
            <a:avLst/>
          </a:prstGeom>
        </p:spPr>
        <p:txBody>
          <a:bodyPr anchor="ctr" anchorCtr="0"/>
          <a:lstStyle>
            <a:lvl1pPr>
              <a:lnSpc>
                <a:spcPct val="100000"/>
              </a:lnSpc>
              <a:spcBef>
                <a:spcPts val="0"/>
              </a:spcBef>
              <a:defRPr sz="1200" b="0" cap="all" baseline="0">
                <a:solidFill>
                  <a:schemeClr val="bg1"/>
                </a:solidFill>
              </a:defRPr>
            </a:lvl1pPr>
          </a:lstStyle>
          <a:p>
            <a:pPr lvl="0"/>
            <a:r>
              <a:rPr lang="en-GB"/>
              <a:t>L&amp;L team Name</a:t>
            </a:r>
          </a:p>
        </p:txBody>
      </p:sp>
    </p:spTree>
    <p:extLst>
      <p:ext uri="{BB962C8B-B14F-4D97-AF65-F5344CB8AC3E}">
        <p14:creationId xmlns:p14="http://schemas.microsoft.com/office/powerpoint/2010/main" val="216713232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ith image box">
    <p:spTree>
      <p:nvGrpSpPr>
        <p:cNvPr id="1" name=""/>
        <p:cNvGrpSpPr/>
        <p:nvPr/>
      </p:nvGrpSpPr>
      <p:grpSpPr>
        <a:xfrm>
          <a:off x="0" y="0"/>
          <a:ext cx="0" cy="0"/>
          <a:chOff x="0" y="0"/>
          <a:chExt cx="0" cy="0"/>
        </a:xfrm>
      </p:grpSpPr>
      <p:sp>
        <p:nvSpPr>
          <p:cNvPr id="43" name="Rectangle 42"/>
          <p:cNvSpPr/>
          <p:nvPr userDrawn="1"/>
        </p:nvSpPr>
        <p:spPr>
          <a:xfrm>
            <a:off x="300038" y="296864"/>
            <a:ext cx="11591923" cy="38877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Picture Placeholder 41"/>
          <p:cNvSpPr>
            <a:spLocks noGrp="1"/>
          </p:cNvSpPr>
          <p:nvPr>
            <p:ph type="pic" sz="quarter" idx="18" hasCustomPrompt="1"/>
          </p:nvPr>
        </p:nvSpPr>
        <p:spPr>
          <a:xfrm>
            <a:off x="300038" y="296862"/>
            <a:ext cx="11591925" cy="3887788"/>
          </a:xfrm>
          <a:custGeom>
            <a:avLst/>
            <a:gdLst>
              <a:gd name="connsiteX0" fmla="*/ 0 w 11591925"/>
              <a:gd name="connsiteY0" fmla="*/ 0 h 3887788"/>
              <a:gd name="connsiteX1" fmla="*/ 11591925 w 11591925"/>
              <a:gd name="connsiteY1" fmla="*/ 0 h 3887788"/>
              <a:gd name="connsiteX2" fmla="*/ 11591925 w 11591925"/>
              <a:gd name="connsiteY2" fmla="*/ 2888616 h 3887788"/>
              <a:gd name="connsiteX3" fmla="*/ 9524399 w 11591925"/>
              <a:gd name="connsiteY3" fmla="*/ 2888616 h 3887788"/>
              <a:gd name="connsiteX4" fmla="*/ 9296970 w 11591925"/>
              <a:gd name="connsiteY4" fmla="*/ 2888616 h 3887788"/>
              <a:gd name="connsiteX5" fmla="*/ 8968728 w 11591925"/>
              <a:gd name="connsiteY5" fmla="*/ 3388837 h 3887788"/>
              <a:gd name="connsiteX6" fmla="*/ 8719373 w 11591925"/>
              <a:gd name="connsiteY6" fmla="*/ 3869419 h 3887788"/>
              <a:gd name="connsiteX7" fmla="*/ 8664711 w 11591925"/>
              <a:gd name="connsiteY7" fmla="*/ 3887788 h 3887788"/>
              <a:gd name="connsiteX8" fmla="*/ 0 w 11591925"/>
              <a:gd name="connsiteY8" fmla="*/ 3887788 h 388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925" h="3887788">
                <a:moveTo>
                  <a:pt x="0" y="0"/>
                </a:moveTo>
                <a:lnTo>
                  <a:pt x="11591925" y="0"/>
                </a:lnTo>
                <a:lnTo>
                  <a:pt x="11591925" y="2888616"/>
                </a:lnTo>
                <a:lnTo>
                  <a:pt x="9524399" y="2888616"/>
                </a:lnTo>
                <a:lnTo>
                  <a:pt x="9296970" y="2888616"/>
                </a:lnTo>
                <a:cubicBezTo>
                  <a:pt x="8968728" y="2888616"/>
                  <a:pt x="8968728" y="3108739"/>
                  <a:pt x="8968728" y="3388837"/>
                </a:cubicBezTo>
                <a:cubicBezTo>
                  <a:pt x="8968728" y="3671982"/>
                  <a:pt x="8850137" y="3813338"/>
                  <a:pt x="8719373" y="3869419"/>
                </a:cubicBezTo>
                <a:lnTo>
                  <a:pt x="8664711" y="3887788"/>
                </a:lnTo>
                <a:lnTo>
                  <a:pt x="0" y="3887788"/>
                </a:lnTo>
                <a:close/>
              </a:path>
            </a:pathLst>
          </a:custGeom>
          <a:solidFill>
            <a:schemeClr val="accent5"/>
          </a:solidFill>
        </p:spPr>
        <p:txBody>
          <a:bodyPr wrap="square" tIns="144000">
            <a:noAutofit/>
          </a:bodyPr>
          <a:lstStyle>
            <a:lvl1pPr algn="ctr">
              <a:defRPr sz="1600">
                <a:solidFill>
                  <a:schemeClr val="bg1"/>
                </a:solidFill>
              </a:defRPr>
            </a:lvl1pPr>
          </a:lstStyle>
          <a:p>
            <a:r>
              <a:rPr lang="en-GB"/>
              <a:t>HOW TO INSERT PICTURE FROM SHAREPOINT OR COMPUTER?</a:t>
            </a:r>
            <a:br>
              <a:rPr lang="en-GB"/>
            </a:br>
            <a:br>
              <a:rPr lang="en-GB"/>
            </a:br>
            <a:r>
              <a:rPr lang="en-GB"/>
              <a:t> Select picture placeholder and go to Ribbon &gt; Loyens &amp; Loeff Tab &gt; </a:t>
            </a:r>
            <a:br>
              <a:rPr lang="en-GB"/>
            </a:br>
            <a:r>
              <a:rPr lang="en-GB"/>
              <a:t>Click ‘Insert picture’ button and select picture from SharePoint</a:t>
            </a:r>
            <a:br>
              <a:rPr lang="en-GB"/>
            </a:br>
            <a:br>
              <a:rPr lang="en-GB"/>
            </a:br>
            <a:r>
              <a:rPr lang="en-GB"/>
              <a:t>or click icon to place a picture from your computer</a:t>
            </a:r>
          </a:p>
        </p:txBody>
      </p:sp>
      <p:grpSp>
        <p:nvGrpSpPr>
          <p:cNvPr id="4" name="L&amp;L Brandbox"/>
          <p:cNvGrpSpPr/>
          <p:nvPr userDrawn="1"/>
        </p:nvGrpSpPr>
        <p:grpSpPr>
          <a:xfrm>
            <a:off x="8962934" y="3185478"/>
            <a:ext cx="3229066" cy="1999563"/>
            <a:chOff x="8962934" y="3185478"/>
            <a:chExt cx="3229066" cy="1999563"/>
          </a:xfrm>
        </p:grpSpPr>
        <p:sp>
          <p:nvSpPr>
            <p:cNvPr id="23"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grpSp>
          <p:nvGrpSpPr>
            <p:cNvPr id="24" name="Groep 10"/>
            <p:cNvGrpSpPr/>
            <p:nvPr userDrawn="1"/>
          </p:nvGrpSpPr>
          <p:grpSpPr>
            <a:xfrm>
              <a:off x="9710831" y="3461481"/>
              <a:ext cx="2040634" cy="353598"/>
              <a:chOff x="990600" y="-7938"/>
              <a:chExt cx="10645776" cy="1844675"/>
            </a:xfrm>
            <a:solidFill>
              <a:schemeClr val="bg1"/>
            </a:solidFill>
          </p:grpSpPr>
          <p:sp>
            <p:nvSpPr>
              <p:cNvPr id="26"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7"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8"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1"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2"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41" name="Freeform: Shape 20"/>
            <p:cNvSpPr/>
            <p:nvPr userDrawn="1"/>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sp>
        <p:nvSpPr>
          <p:cNvPr id="2" name="Titel 1"/>
          <p:cNvSpPr>
            <a:spLocks noGrp="1"/>
          </p:cNvSpPr>
          <p:nvPr>
            <p:ph type="ctrTitle"/>
          </p:nvPr>
        </p:nvSpPr>
        <p:spPr>
          <a:xfrm>
            <a:off x="982663" y="4854196"/>
            <a:ext cx="7849641" cy="443198"/>
          </a:xfrm>
        </p:spPr>
        <p:txBody>
          <a:bodyPr wrap="square" anchor="b" anchorCtr="0">
            <a:spAutoFit/>
          </a:bodyPr>
          <a:lstStyle>
            <a:lvl1pPr algn="l">
              <a:lnSpc>
                <a:spcPct val="90000"/>
              </a:lnSpc>
              <a:defRPr sz="3200">
                <a:latin typeface="Arial Black" panose="020B0A04020102020204" pitchFamily="34" charset="0"/>
              </a:defRPr>
            </a:lvl1pPr>
          </a:lstStyle>
          <a:p>
            <a:r>
              <a:rPr lang="en-GB" noProof="0"/>
              <a:t>Click to edit Master title style</a:t>
            </a:r>
            <a:endParaRPr lang="en-GB"/>
          </a:p>
        </p:txBody>
      </p:sp>
      <p:sp>
        <p:nvSpPr>
          <p:cNvPr id="3" name="Ondertitel 2"/>
          <p:cNvSpPr>
            <a:spLocks noGrp="1"/>
          </p:cNvSpPr>
          <p:nvPr>
            <p:ph type="subTitle" idx="1" hasCustomPrompt="1"/>
          </p:nvPr>
        </p:nvSpPr>
        <p:spPr>
          <a:xfrm>
            <a:off x="982663" y="5571089"/>
            <a:ext cx="7850187" cy="276999"/>
          </a:xfrm>
          <a:prstGeom prst="rect">
            <a:avLst/>
          </a:prstGeom>
        </p:spPr>
        <p:txBody>
          <a:bodyPr wrap="square" anchor="ctr">
            <a:spAutoFit/>
          </a:bodyPr>
          <a:lstStyle>
            <a:lvl1pPr marL="0" indent="0" algn="l">
              <a:lnSpc>
                <a:spcPct val="100000"/>
              </a:lnSpc>
              <a:spcBef>
                <a:spcPts val="0"/>
              </a:spcBef>
              <a:buNone/>
              <a:defRPr sz="18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sp>
        <p:nvSpPr>
          <p:cNvPr id="33" name="Text Placeholder 32"/>
          <p:cNvSpPr>
            <a:spLocks noGrp="1"/>
          </p:cNvSpPr>
          <p:nvPr>
            <p:ph type="body" sz="quarter" idx="14" hasCustomPrompt="1"/>
          </p:nvPr>
        </p:nvSpPr>
        <p:spPr>
          <a:xfrm>
            <a:off x="982663" y="6200775"/>
            <a:ext cx="7850187" cy="169277"/>
          </a:xfrm>
          <a:prstGeom prst="rect">
            <a:avLst/>
          </a:prstGeom>
        </p:spPr>
        <p:txBody>
          <a:bodyPr/>
          <a:lstStyle>
            <a:lvl1pPr>
              <a:lnSpc>
                <a:spcPct val="100000"/>
              </a:lnSpc>
              <a:spcBef>
                <a:spcPts val="0"/>
              </a:spcBef>
              <a:defRPr sz="1100" b="0">
                <a:solidFill>
                  <a:schemeClr val="accent4"/>
                </a:solidFill>
              </a:defRPr>
            </a:lvl1pPr>
          </a:lstStyle>
          <a:p>
            <a:pPr lvl="0"/>
            <a:r>
              <a:rPr lang="en-GB"/>
              <a:t>Place, date  -  Name / Team</a:t>
            </a:r>
          </a:p>
        </p:txBody>
      </p:sp>
      <p:sp>
        <p:nvSpPr>
          <p:cNvPr id="34" name="Name team"/>
          <p:cNvSpPr>
            <a:spLocks noGrp="1"/>
          </p:cNvSpPr>
          <p:nvPr>
            <p:ph type="body" sz="quarter" idx="15" hasCustomPrompt="1"/>
          </p:nvPr>
        </p:nvSpPr>
        <p:spPr>
          <a:xfrm>
            <a:off x="9710832" y="4531525"/>
            <a:ext cx="2040634" cy="184666"/>
          </a:xfrm>
          <a:prstGeom prst="rect">
            <a:avLst/>
          </a:prstGeom>
        </p:spPr>
        <p:txBody>
          <a:bodyPr anchor="ctr" anchorCtr="0"/>
          <a:lstStyle>
            <a:lvl1pPr>
              <a:lnSpc>
                <a:spcPct val="100000"/>
              </a:lnSpc>
              <a:spcBef>
                <a:spcPts val="0"/>
              </a:spcBef>
              <a:defRPr sz="1200" b="0" cap="all" baseline="0">
                <a:solidFill>
                  <a:schemeClr val="bg1"/>
                </a:solidFill>
              </a:defRPr>
            </a:lvl1pPr>
          </a:lstStyle>
          <a:p>
            <a:pPr lvl="0"/>
            <a:r>
              <a:rPr lang="en-GB"/>
              <a:t>L&amp;L team Name</a:t>
            </a:r>
          </a:p>
        </p:txBody>
      </p:sp>
      <p:sp>
        <p:nvSpPr>
          <p:cNvPr id="44" name="Footer Placeholder 4"/>
          <p:cNvSpPr>
            <a:spLocks noGrp="1"/>
          </p:cNvSpPr>
          <p:nvPr>
            <p:ph type="ftr" sz="quarter" idx="17"/>
          </p:nvPr>
        </p:nvSpPr>
        <p:spPr>
          <a:xfrm>
            <a:off x="982663" y="6524573"/>
            <a:ext cx="4826000" cy="138499"/>
          </a:xfrm>
          <a:prstGeom prst="rect">
            <a:avLst/>
          </a:prstGeom>
        </p:spPr>
        <p:txBody>
          <a:bodyPr lIns="0" tIns="0" rIns="0" bIns="0">
            <a:spAutoFit/>
          </a:bodyPr>
          <a:lstStyle>
            <a:lvl1pPr>
              <a:defRPr sz="900">
                <a:solidFill>
                  <a:schemeClr val="accent5"/>
                </a:solidFill>
              </a:defRPr>
            </a:lvl1pPr>
          </a:lstStyle>
          <a:p>
            <a:r>
              <a:rPr lang="en-GB"/>
              <a:t>DMS number</a:t>
            </a:r>
          </a:p>
        </p:txBody>
      </p:sp>
    </p:spTree>
    <p:extLst>
      <p:ext uri="{BB962C8B-B14F-4D97-AF65-F5344CB8AC3E}">
        <p14:creationId xmlns:p14="http://schemas.microsoft.com/office/powerpoint/2010/main" val="7208320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4" name="Rectangle 23"/>
          <p:cNvSpPr/>
          <p:nvPr userDrawn="1"/>
        </p:nvSpPr>
        <p:spPr>
          <a:xfrm>
            <a:off x="300039" y="4184650"/>
            <a:ext cx="11591924" cy="23399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a:off x="8962934" y="3185478"/>
            <a:ext cx="3229066" cy="1999563"/>
            <a:chOff x="8962934" y="3185478"/>
            <a:chExt cx="3229066" cy="1999563"/>
          </a:xfrm>
        </p:grpSpPr>
        <p:sp>
          <p:nvSpPr>
            <p:cNvPr id="25"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grpSp>
          <p:nvGrpSpPr>
            <p:cNvPr id="26" name="Groep 10"/>
            <p:cNvGrpSpPr/>
            <p:nvPr userDrawn="1"/>
          </p:nvGrpSpPr>
          <p:grpSpPr>
            <a:xfrm>
              <a:off x="9710831" y="3461481"/>
              <a:ext cx="2040634" cy="353598"/>
              <a:chOff x="990600" y="-7938"/>
              <a:chExt cx="10645776" cy="1844675"/>
            </a:xfrm>
            <a:solidFill>
              <a:schemeClr val="bg1"/>
            </a:solidFill>
          </p:grpSpPr>
          <p:sp>
            <p:nvSpPr>
              <p:cNvPr id="28"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1"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2"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1"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2"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43" name="Freeform: Shape 20"/>
            <p:cNvSpPr/>
            <p:nvPr userDrawn="1"/>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sp>
        <p:nvSpPr>
          <p:cNvPr id="34" name="Name Team"/>
          <p:cNvSpPr>
            <a:spLocks noGrp="1"/>
          </p:cNvSpPr>
          <p:nvPr>
            <p:ph type="body" sz="quarter" idx="15" hasCustomPrompt="1"/>
          </p:nvPr>
        </p:nvSpPr>
        <p:spPr>
          <a:xfrm>
            <a:off x="9710832" y="4531525"/>
            <a:ext cx="2040634" cy="184666"/>
          </a:xfrm>
          <a:prstGeom prst="rect">
            <a:avLst/>
          </a:prstGeom>
        </p:spPr>
        <p:txBody>
          <a:bodyPr anchor="ctr" anchorCtr="0"/>
          <a:lstStyle>
            <a:lvl1pPr>
              <a:lnSpc>
                <a:spcPct val="100000"/>
              </a:lnSpc>
              <a:spcBef>
                <a:spcPts val="0"/>
              </a:spcBef>
              <a:defRPr sz="1200" b="0" cap="all" baseline="0">
                <a:solidFill>
                  <a:schemeClr val="bg1"/>
                </a:solidFill>
              </a:defRPr>
            </a:lvl1pPr>
          </a:lstStyle>
          <a:p>
            <a:pPr lvl="0"/>
            <a:r>
              <a:rPr lang="en-GB"/>
              <a:t>L&amp;L team Name</a:t>
            </a:r>
          </a:p>
        </p:txBody>
      </p:sp>
      <p:sp>
        <p:nvSpPr>
          <p:cNvPr id="2" name="Titel 1"/>
          <p:cNvSpPr>
            <a:spLocks noGrp="1"/>
          </p:cNvSpPr>
          <p:nvPr>
            <p:ph type="ctrTitle"/>
          </p:nvPr>
        </p:nvSpPr>
        <p:spPr>
          <a:xfrm>
            <a:off x="982663" y="1456908"/>
            <a:ext cx="7849641" cy="1107996"/>
          </a:xfrm>
        </p:spPr>
        <p:txBody>
          <a:bodyPr wrap="square" anchor="b" anchorCtr="0">
            <a:spAutoFit/>
          </a:bodyPr>
          <a:lstStyle>
            <a:lvl1pPr algn="l">
              <a:lnSpc>
                <a:spcPct val="90000"/>
              </a:lnSpc>
              <a:defRPr sz="4000">
                <a:latin typeface="Arial Black" panose="020B0A04020102020204" pitchFamily="34" charset="0"/>
              </a:defRPr>
            </a:lvl1pPr>
          </a:lstStyle>
          <a:p>
            <a:r>
              <a:rPr lang="en-GB" noProof="0"/>
              <a:t>Click to edit Master title style</a:t>
            </a:r>
            <a:endParaRPr lang="en-GB"/>
          </a:p>
        </p:txBody>
      </p:sp>
      <p:sp>
        <p:nvSpPr>
          <p:cNvPr id="3" name="Ondertitel 2"/>
          <p:cNvSpPr>
            <a:spLocks noGrp="1"/>
          </p:cNvSpPr>
          <p:nvPr>
            <p:ph type="subTitle" idx="1" hasCustomPrompt="1"/>
          </p:nvPr>
        </p:nvSpPr>
        <p:spPr>
          <a:xfrm>
            <a:off x="982663" y="2960948"/>
            <a:ext cx="7850187" cy="276999"/>
          </a:xfrm>
          <a:prstGeom prst="rect">
            <a:avLst/>
          </a:prstGeom>
        </p:spPr>
        <p:txBody>
          <a:bodyPr wrap="square" anchor="ctr">
            <a:spAutoFit/>
          </a:bodyPr>
          <a:lstStyle>
            <a:lvl1pPr marL="0" indent="0" algn="l">
              <a:lnSpc>
                <a:spcPct val="100000"/>
              </a:lnSpc>
              <a:spcBef>
                <a:spcPts val="0"/>
              </a:spcBef>
              <a:buNone/>
              <a:defRPr sz="18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sp>
        <p:nvSpPr>
          <p:cNvPr id="33" name="Text Placeholder 32"/>
          <p:cNvSpPr>
            <a:spLocks noGrp="1"/>
          </p:cNvSpPr>
          <p:nvPr>
            <p:ph type="body" sz="quarter" idx="14" hasCustomPrompt="1"/>
          </p:nvPr>
        </p:nvSpPr>
        <p:spPr>
          <a:xfrm>
            <a:off x="982663" y="3621469"/>
            <a:ext cx="7850187" cy="169277"/>
          </a:xfrm>
          <a:prstGeom prst="rect">
            <a:avLst/>
          </a:prstGeom>
        </p:spPr>
        <p:txBody>
          <a:bodyPr/>
          <a:lstStyle>
            <a:lvl1pPr>
              <a:lnSpc>
                <a:spcPct val="100000"/>
              </a:lnSpc>
              <a:spcBef>
                <a:spcPts val="0"/>
              </a:spcBef>
              <a:defRPr sz="1100" b="0">
                <a:solidFill>
                  <a:schemeClr val="accent4"/>
                </a:solidFill>
              </a:defRPr>
            </a:lvl1pPr>
          </a:lstStyle>
          <a:p>
            <a:pPr lvl="0"/>
            <a:r>
              <a:rPr lang="en-GB"/>
              <a:t>Place, date  -  Name / Team</a:t>
            </a:r>
          </a:p>
        </p:txBody>
      </p:sp>
      <p:sp>
        <p:nvSpPr>
          <p:cNvPr id="44" name="Footer Placeholder 4"/>
          <p:cNvSpPr>
            <a:spLocks noGrp="1"/>
          </p:cNvSpPr>
          <p:nvPr>
            <p:ph type="ftr" sz="quarter" idx="17"/>
          </p:nvPr>
        </p:nvSpPr>
        <p:spPr>
          <a:xfrm>
            <a:off x="982663" y="3906577"/>
            <a:ext cx="4826000" cy="138499"/>
          </a:xfrm>
          <a:prstGeom prst="rect">
            <a:avLst/>
          </a:prstGeom>
        </p:spPr>
        <p:txBody>
          <a:bodyPr lIns="0" tIns="0" rIns="0" bIns="0">
            <a:spAutoFit/>
          </a:bodyPr>
          <a:lstStyle>
            <a:lvl1pPr>
              <a:defRPr sz="900">
                <a:solidFill>
                  <a:schemeClr val="accent5"/>
                </a:solidFill>
              </a:defRPr>
            </a:lvl1pPr>
          </a:lstStyle>
          <a:p>
            <a:r>
              <a:rPr lang="en-GB"/>
              <a:t>DMS number</a:t>
            </a:r>
          </a:p>
        </p:txBody>
      </p:sp>
    </p:spTree>
    <p:extLst>
      <p:ext uri="{BB962C8B-B14F-4D97-AF65-F5344CB8AC3E}">
        <p14:creationId xmlns:p14="http://schemas.microsoft.com/office/powerpoint/2010/main" val="166238352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image box below">
    <p:spTree>
      <p:nvGrpSpPr>
        <p:cNvPr id="1" name=""/>
        <p:cNvGrpSpPr/>
        <p:nvPr/>
      </p:nvGrpSpPr>
      <p:grpSpPr>
        <a:xfrm>
          <a:off x="0" y="0"/>
          <a:ext cx="0" cy="0"/>
          <a:chOff x="0" y="0"/>
          <a:chExt cx="0" cy="0"/>
        </a:xfrm>
      </p:grpSpPr>
      <p:sp>
        <p:nvSpPr>
          <p:cNvPr id="44" name="Rectangle 43"/>
          <p:cNvSpPr/>
          <p:nvPr userDrawn="1"/>
        </p:nvSpPr>
        <p:spPr>
          <a:xfrm>
            <a:off x="300039" y="4184650"/>
            <a:ext cx="11591924" cy="23399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Picture Placeholder 47"/>
          <p:cNvSpPr>
            <a:spLocks noGrp="1"/>
          </p:cNvSpPr>
          <p:nvPr>
            <p:ph type="pic" sz="quarter" idx="17" hasCustomPrompt="1"/>
          </p:nvPr>
        </p:nvSpPr>
        <p:spPr>
          <a:xfrm>
            <a:off x="300038" y="4184650"/>
            <a:ext cx="11591924" cy="2339975"/>
          </a:xfrm>
          <a:custGeom>
            <a:avLst/>
            <a:gdLst>
              <a:gd name="connsiteX0" fmla="*/ 0 w 11591924"/>
              <a:gd name="connsiteY0" fmla="*/ 0 h 2339975"/>
              <a:gd name="connsiteX1" fmla="*/ 34925 w 11591924"/>
              <a:gd name="connsiteY1" fmla="*/ 0 h 2339975"/>
              <a:gd name="connsiteX2" fmla="*/ 8662897 w 11591924"/>
              <a:gd name="connsiteY2" fmla="*/ 0 h 2339975"/>
              <a:gd name="connsiteX3" fmla="*/ 8968729 w 11591924"/>
              <a:gd name="connsiteY3" fmla="*/ 499562 h 2339975"/>
              <a:gd name="connsiteX4" fmla="*/ 9296971 w 11591924"/>
              <a:gd name="connsiteY4" fmla="*/ 999782 h 2339975"/>
              <a:gd name="connsiteX5" fmla="*/ 9524400 w 11591924"/>
              <a:gd name="connsiteY5" fmla="*/ 999782 h 2339975"/>
              <a:gd name="connsiteX6" fmla="*/ 11591924 w 11591924"/>
              <a:gd name="connsiteY6" fmla="*/ 999782 h 2339975"/>
              <a:gd name="connsiteX7" fmla="*/ 11591924 w 11591924"/>
              <a:gd name="connsiteY7" fmla="*/ 2339975 h 2339975"/>
              <a:gd name="connsiteX8" fmla="*/ 0 w 11591924"/>
              <a:gd name="connsiteY8" fmla="*/ 2339975 h 23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924" h="2339975">
                <a:moveTo>
                  <a:pt x="0" y="0"/>
                </a:moveTo>
                <a:lnTo>
                  <a:pt x="34925" y="0"/>
                </a:lnTo>
                <a:lnTo>
                  <a:pt x="8662897" y="0"/>
                </a:lnTo>
                <a:cubicBezTo>
                  <a:pt x="8813835" y="37566"/>
                  <a:pt x="8968729" y="175966"/>
                  <a:pt x="8968729" y="499562"/>
                </a:cubicBezTo>
                <a:cubicBezTo>
                  <a:pt x="8968729" y="779659"/>
                  <a:pt x="8968729" y="999782"/>
                  <a:pt x="9296971" y="999782"/>
                </a:cubicBezTo>
                <a:lnTo>
                  <a:pt x="9524400" y="999782"/>
                </a:lnTo>
                <a:lnTo>
                  <a:pt x="11591924" y="999782"/>
                </a:lnTo>
                <a:lnTo>
                  <a:pt x="11591924" y="2339975"/>
                </a:lnTo>
                <a:lnTo>
                  <a:pt x="0" y="2339975"/>
                </a:lnTo>
                <a:close/>
              </a:path>
            </a:pathLst>
          </a:custGeom>
          <a:solidFill>
            <a:schemeClr val="accent5"/>
          </a:solidFill>
        </p:spPr>
        <p:txBody>
          <a:bodyPr wrap="square" tIns="144000">
            <a:noAutofit/>
          </a:bodyPr>
          <a:lstStyle>
            <a:lvl1pPr algn="ctr">
              <a:defRPr sz="1600" b="0">
                <a:solidFill>
                  <a:schemeClr val="bg1"/>
                </a:solidFill>
              </a:defRPr>
            </a:lvl1pPr>
          </a:lstStyle>
          <a:p>
            <a:r>
              <a:rPr lang="en-GB"/>
              <a:t>HOW TO INSERT PICTURE </a:t>
            </a:r>
            <a:br>
              <a:rPr lang="en-GB"/>
            </a:br>
            <a:r>
              <a:rPr lang="en-GB"/>
              <a:t>FROM SHAREPOINT OR COMPUTER?</a:t>
            </a:r>
            <a:br>
              <a:rPr lang="en-GB"/>
            </a:br>
            <a:br>
              <a:rPr lang="en-GB"/>
            </a:br>
            <a:br>
              <a:rPr lang="en-GB"/>
            </a:br>
            <a:r>
              <a:rPr lang="en-GB"/>
              <a:t> Select picture placeholder and go to Ribbon &gt; Loyens &amp; Loeff Tab &gt; </a:t>
            </a:r>
            <a:br>
              <a:rPr lang="en-GB"/>
            </a:br>
            <a:r>
              <a:rPr lang="en-GB"/>
              <a:t>Click ‘Insert picture’ button and select picture from SharePoint</a:t>
            </a:r>
            <a:br>
              <a:rPr lang="en-GB"/>
            </a:br>
            <a:r>
              <a:rPr lang="en-GB"/>
              <a:t>or click icon to place a picture from your computer</a:t>
            </a:r>
          </a:p>
        </p:txBody>
      </p:sp>
      <p:grpSp>
        <p:nvGrpSpPr>
          <p:cNvPr id="4" name="Group 3"/>
          <p:cNvGrpSpPr/>
          <p:nvPr userDrawn="1"/>
        </p:nvGrpSpPr>
        <p:grpSpPr>
          <a:xfrm>
            <a:off x="8962934" y="3185478"/>
            <a:ext cx="3229066" cy="1999563"/>
            <a:chOff x="8962934" y="3185478"/>
            <a:chExt cx="3229066" cy="1999563"/>
          </a:xfrm>
        </p:grpSpPr>
        <p:sp>
          <p:nvSpPr>
            <p:cNvPr id="25"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grpSp>
          <p:nvGrpSpPr>
            <p:cNvPr id="26" name="Groep 10"/>
            <p:cNvGrpSpPr/>
            <p:nvPr userDrawn="1"/>
          </p:nvGrpSpPr>
          <p:grpSpPr>
            <a:xfrm>
              <a:off x="9710831" y="3461481"/>
              <a:ext cx="2040634" cy="353598"/>
              <a:chOff x="990600" y="-7938"/>
              <a:chExt cx="10645776" cy="1844675"/>
            </a:xfrm>
            <a:solidFill>
              <a:schemeClr val="bg1"/>
            </a:solidFill>
          </p:grpSpPr>
          <p:sp>
            <p:nvSpPr>
              <p:cNvPr id="28"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1"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2"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1"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2"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43" name="Freeform: Shape 20"/>
            <p:cNvSpPr/>
            <p:nvPr userDrawn="1"/>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sp>
        <p:nvSpPr>
          <p:cNvPr id="2" name="Titel 1"/>
          <p:cNvSpPr>
            <a:spLocks noGrp="1"/>
          </p:cNvSpPr>
          <p:nvPr>
            <p:ph type="ctrTitle"/>
          </p:nvPr>
        </p:nvSpPr>
        <p:spPr>
          <a:xfrm>
            <a:off x="982663" y="1456908"/>
            <a:ext cx="7849641" cy="1107996"/>
          </a:xfrm>
        </p:spPr>
        <p:txBody>
          <a:bodyPr wrap="square" anchor="b" anchorCtr="0">
            <a:spAutoFit/>
          </a:bodyPr>
          <a:lstStyle>
            <a:lvl1pPr algn="l">
              <a:lnSpc>
                <a:spcPct val="90000"/>
              </a:lnSpc>
              <a:defRPr sz="4000">
                <a:latin typeface="Arial Black" panose="020B0A04020102020204" pitchFamily="34" charset="0"/>
              </a:defRPr>
            </a:lvl1pPr>
          </a:lstStyle>
          <a:p>
            <a:r>
              <a:rPr lang="en-GB" noProof="0"/>
              <a:t>Click to edit Master title style</a:t>
            </a:r>
            <a:endParaRPr lang="en-GB"/>
          </a:p>
        </p:txBody>
      </p:sp>
      <p:sp>
        <p:nvSpPr>
          <p:cNvPr id="3" name="Ondertitel 2"/>
          <p:cNvSpPr>
            <a:spLocks noGrp="1"/>
          </p:cNvSpPr>
          <p:nvPr>
            <p:ph type="subTitle" idx="1" hasCustomPrompt="1"/>
          </p:nvPr>
        </p:nvSpPr>
        <p:spPr>
          <a:xfrm>
            <a:off x="982663" y="2960948"/>
            <a:ext cx="7850187" cy="276999"/>
          </a:xfrm>
          <a:prstGeom prst="rect">
            <a:avLst/>
          </a:prstGeom>
        </p:spPr>
        <p:txBody>
          <a:bodyPr wrap="square" anchor="ctr">
            <a:spAutoFit/>
          </a:bodyPr>
          <a:lstStyle>
            <a:lvl1pPr marL="0" indent="0" algn="l">
              <a:lnSpc>
                <a:spcPct val="100000"/>
              </a:lnSpc>
              <a:spcBef>
                <a:spcPts val="0"/>
              </a:spcBef>
              <a:buNone/>
              <a:defRPr sz="18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sp>
        <p:nvSpPr>
          <p:cNvPr id="33" name="Text Placeholder 32"/>
          <p:cNvSpPr>
            <a:spLocks noGrp="1"/>
          </p:cNvSpPr>
          <p:nvPr>
            <p:ph type="body" sz="quarter" idx="14" hasCustomPrompt="1"/>
          </p:nvPr>
        </p:nvSpPr>
        <p:spPr>
          <a:xfrm>
            <a:off x="982663" y="3621469"/>
            <a:ext cx="7850187" cy="169277"/>
          </a:xfrm>
          <a:prstGeom prst="rect">
            <a:avLst/>
          </a:prstGeom>
        </p:spPr>
        <p:txBody>
          <a:bodyPr/>
          <a:lstStyle>
            <a:lvl1pPr>
              <a:lnSpc>
                <a:spcPct val="100000"/>
              </a:lnSpc>
              <a:spcBef>
                <a:spcPts val="0"/>
              </a:spcBef>
              <a:defRPr sz="1100" b="0">
                <a:solidFill>
                  <a:schemeClr val="accent4"/>
                </a:solidFill>
              </a:defRPr>
            </a:lvl1pPr>
          </a:lstStyle>
          <a:p>
            <a:pPr lvl="0"/>
            <a:r>
              <a:rPr lang="en-GB"/>
              <a:t>Place, date  -  Name / Team</a:t>
            </a:r>
          </a:p>
        </p:txBody>
      </p:sp>
      <p:sp>
        <p:nvSpPr>
          <p:cNvPr id="34" name="Name Team"/>
          <p:cNvSpPr>
            <a:spLocks noGrp="1"/>
          </p:cNvSpPr>
          <p:nvPr>
            <p:ph type="body" sz="quarter" idx="15" hasCustomPrompt="1"/>
          </p:nvPr>
        </p:nvSpPr>
        <p:spPr>
          <a:xfrm>
            <a:off x="9710832" y="4531525"/>
            <a:ext cx="2040634" cy="184666"/>
          </a:xfrm>
          <a:prstGeom prst="rect">
            <a:avLst/>
          </a:prstGeom>
        </p:spPr>
        <p:txBody>
          <a:bodyPr anchor="ctr" anchorCtr="0"/>
          <a:lstStyle>
            <a:lvl1pPr>
              <a:lnSpc>
                <a:spcPct val="100000"/>
              </a:lnSpc>
              <a:spcBef>
                <a:spcPts val="0"/>
              </a:spcBef>
              <a:defRPr sz="1200" b="0" cap="all" baseline="0">
                <a:solidFill>
                  <a:schemeClr val="bg1"/>
                </a:solidFill>
              </a:defRPr>
            </a:lvl1pPr>
          </a:lstStyle>
          <a:p>
            <a:pPr lvl="0"/>
            <a:r>
              <a:rPr lang="en-GB"/>
              <a:t>L&amp;L team Name</a:t>
            </a:r>
          </a:p>
        </p:txBody>
      </p:sp>
      <p:sp>
        <p:nvSpPr>
          <p:cNvPr id="45" name="Footer Placeholder 4"/>
          <p:cNvSpPr>
            <a:spLocks noGrp="1"/>
          </p:cNvSpPr>
          <p:nvPr>
            <p:ph type="ftr" sz="quarter" idx="18"/>
          </p:nvPr>
        </p:nvSpPr>
        <p:spPr>
          <a:xfrm>
            <a:off x="982663" y="3906577"/>
            <a:ext cx="4826000" cy="138499"/>
          </a:xfrm>
          <a:prstGeom prst="rect">
            <a:avLst/>
          </a:prstGeom>
        </p:spPr>
        <p:txBody>
          <a:bodyPr lIns="0" tIns="0" rIns="0" bIns="0">
            <a:spAutoFit/>
          </a:bodyPr>
          <a:lstStyle>
            <a:lvl1pPr>
              <a:defRPr sz="900">
                <a:solidFill>
                  <a:schemeClr val="accent5"/>
                </a:solidFill>
              </a:defRPr>
            </a:lvl1pPr>
          </a:lstStyle>
          <a:p>
            <a:r>
              <a:rPr lang="en-GB"/>
              <a:t>DMS number</a:t>
            </a:r>
          </a:p>
        </p:txBody>
      </p:sp>
    </p:spTree>
    <p:extLst>
      <p:ext uri="{BB962C8B-B14F-4D97-AF65-F5344CB8AC3E}">
        <p14:creationId xmlns:p14="http://schemas.microsoft.com/office/powerpoint/2010/main" val="96072275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2" name="Rectangle 21"/>
          <p:cNvSpPr/>
          <p:nvPr/>
        </p:nvSpPr>
        <p:spPr>
          <a:xfrm>
            <a:off x="300039" y="296863"/>
            <a:ext cx="11591924" cy="172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ctrTitle" hasCustomPrompt="1"/>
          </p:nvPr>
        </p:nvSpPr>
        <p:spPr>
          <a:xfrm>
            <a:off x="982663" y="1366612"/>
            <a:ext cx="8200009" cy="498598"/>
          </a:xfrm>
          <a:noFill/>
          <a:ln>
            <a:noFill/>
          </a:ln>
        </p:spPr>
        <p:txBody>
          <a:bodyPr wrap="square" anchor="t" anchorCtr="0">
            <a:spAutoFit/>
          </a:bodyPr>
          <a:lstStyle>
            <a:lvl1pPr algn="l">
              <a:lnSpc>
                <a:spcPct val="90000"/>
              </a:lnSpc>
              <a:defRPr sz="3600">
                <a:solidFill>
                  <a:schemeClr val="bg1"/>
                </a:solidFill>
                <a:latin typeface="Arial Black" panose="020B0A04020102020204" pitchFamily="34" charset="0"/>
              </a:defRPr>
            </a:lvl1pPr>
          </a:lstStyle>
          <a:p>
            <a:r>
              <a:rPr lang="en-GB" noProof="0"/>
              <a:t>This is a agenda slide</a:t>
            </a:r>
            <a:endParaRPr lang="en-GB"/>
          </a:p>
        </p:txBody>
      </p:sp>
      <p:grpSp>
        <p:nvGrpSpPr>
          <p:cNvPr id="28" name="Brandbox"/>
          <p:cNvGrpSpPr/>
          <p:nvPr userDrawn="1"/>
        </p:nvGrpSpPr>
        <p:grpSpPr>
          <a:xfrm>
            <a:off x="9625724" y="1229494"/>
            <a:ext cx="2566276" cy="1589138"/>
            <a:chOff x="8962934" y="3185478"/>
            <a:chExt cx="3229066" cy="1999563"/>
          </a:xfrm>
        </p:grpSpPr>
        <p:sp>
          <p:nvSpPr>
            <p:cNvPr id="29"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grpSp>
          <p:nvGrpSpPr>
            <p:cNvPr id="30" name="Groep 10"/>
            <p:cNvGrpSpPr/>
            <p:nvPr userDrawn="1"/>
          </p:nvGrpSpPr>
          <p:grpSpPr>
            <a:xfrm>
              <a:off x="9710831" y="3461481"/>
              <a:ext cx="2040634" cy="353598"/>
              <a:chOff x="990600" y="-7938"/>
              <a:chExt cx="10645776" cy="1844675"/>
            </a:xfrm>
            <a:solidFill>
              <a:schemeClr val="bg1"/>
            </a:solidFill>
          </p:grpSpPr>
          <p:sp>
            <p:nvSpPr>
              <p:cNvPr id="32"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3"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4"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5"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1"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2"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3"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31" name="Freeform: Shape 20"/>
            <p:cNvSpPr/>
            <p:nvPr userDrawn="1"/>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sp>
        <p:nvSpPr>
          <p:cNvPr id="45" name="Text Placeholder 44"/>
          <p:cNvSpPr>
            <a:spLocks noGrp="1"/>
          </p:cNvSpPr>
          <p:nvPr>
            <p:ph type="body" sz="quarter" idx="13" hasCustomPrompt="1"/>
          </p:nvPr>
        </p:nvSpPr>
        <p:spPr>
          <a:xfrm>
            <a:off x="982663" y="2384426"/>
            <a:ext cx="8208962" cy="1651734"/>
          </a:xfrm>
        </p:spPr>
        <p:txBody>
          <a:bodyPr/>
          <a:lstStyle>
            <a:lvl1pPr marL="457200" indent="-457200">
              <a:buClr>
                <a:schemeClr val="accent2"/>
              </a:buClr>
              <a:buFont typeface="+mj-lt"/>
              <a:buAutoNum type="arabicPeriod"/>
              <a:tabLst>
                <a:tab pos="8162925" algn="r"/>
              </a:tabLst>
              <a:defRPr/>
            </a:lvl1pPr>
            <a:lvl2pPr marL="985838" indent="-457200">
              <a:buClr>
                <a:schemeClr val="accent2"/>
              </a:buClr>
              <a:buFont typeface="+mj-lt"/>
              <a:buAutoNum type="arabicPeriod"/>
              <a:tabLst>
                <a:tab pos="8162925" algn="r"/>
              </a:tabLst>
              <a:defRPr/>
            </a:lvl2pPr>
            <a:lvl3pPr marL="1435100" indent="-366713">
              <a:buFont typeface="+mj-lt"/>
              <a:buAutoNum type="arabicPeriod"/>
              <a:tabLst>
                <a:tab pos="8162925" algn="r"/>
              </a:tabLst>
              <a:defRPr sz="1800"/>
            </a:lvl3pPr>
            <a:lvl4pPr marL="1879600" indent="-342900">
              <a:buFont typeface="+mj-lt"/>
              <a:buAutoNum type="arabicPeriod"/>
              <a:tabLst>
                <a:tab pos="8162925" algn="r"/>
              </a:tabLst>
              <a:defRPr/>
            </a:lvl4pPr>
            <a:lvl5pPr marL="2333625" indent="-342900">
              <a:buFont typeface="+mj-lt"/>
              <a:buAutoNum type="arabicPeriod"/>
              <a:tabLst>
                <a:tab pos="8162925" algn="r"/>
              </a:tabLst>
              <a:defRPr sz="1800" b="0">
                <a:solidFill>
                  <a:schemeClr val="tx2"/>
                </a:solidFill>
              </a:defRPr>
            </a:lvl5pPr>
          </a:lstStyle>
          <a:p>
            <a:pPr lvl="0"/>
            <a:r>
              <a:rPr lang="en-GB"/>
              <a:t>Edit Master text styles	</a:t>
            </a:r>
          </a:p>
          <a:p>
            <a:pPr lvl="1"/>
            <a:r>
              <a:rPr lang="en-GB"/>
              <a:t>Second level	</a:t>
            </a:r>
          </a:p>
          <a:p>
            <a:pPr lvl="2"/>
            <a:r>
              <a:rPr lang="en-GB"/>
              <a:t>Third level	</a:t>
            </a:r>
          </a:p>
          <a:p>
            <a:pPr lvl="3"/>
            <a:r>
              <a:rPr lang="en-GB"/>
              <a:t>Fourth level	</a:t>
            </a:r>
          </a:p>
          <a:p>
            <a:pPr lvl="4"/>
            <a:r>
              <a:rPr lang="en-GB"/>
              <a:t>Fifth level	</a:t>
            </a:r>
          </a:p>
        </p:txBody>
      </p:sp>
    </p:spTree>
    <p:extLst>
      <p:ext uri="{BB962C8B-B14F-4D97-AF65-F5344CB8AC3E}">
        <p14:creationId xmlns:p14="http://schemas.microsoft.com/office/powerpoint/2010/main" val="41004561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image box">
    <p:spTree>
      <p:nvGrpSpPr>
        <p:cNvPr id="1" name=""/>
        <p:cNvGrpSpPr/>
        <p:nvPr/>
      </p:nvGrpSpPr>
      <p:grpSpPr>
        <a:xfrm>
          <a:off x="0" y="0"/>
          <a:ext cx="0" cy="0"/>
          <a:chOff x="0" y="0"/>
          <a:chExt cx="0" cy="0"/>
        </a:xfrm>
      </p:grpSpPr>
      <p:sp>
        <p:nvSpPr>
          <p:cNvPr id="43" name="Rectangle 42"/>
          <p:cNvSpPr/>
          <p:nvPr userDrawn="1"/>
        </p:nvSpPr>
        <p:spPr>
          <a:xfrm>
            <a:off x="300038" y="296863"/>
            <a:ext cx="11591925" cy="1727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Picture Placeholder 44"/>
          <p:cNvSpPr>
            <a:spLocks noGrp="1"/>
          </p:cNvSpPr>
          <p:nvPr>
            <p:ph type="pic" sz="quarter" idx="15" hasCustomPrompt="1"/>
          </p:nvPr>
        </p:nvSpPr>
        <p:spPr>
          <a:xfrm>
            <a:off x="300037" y="296863"/>
            <a:ext cx="11591925" cy="1727200"/>
          </a:xfrm>
          <a:custGeom>
            <a:avLst/>
            <a:gdLst>
              <a:gd name="connsiteX0" fmla="*/ 0 w 11591925"/>
              <a:gd name="connsiteY0" fmla="*/ 0 h 1727200"/>
              <a:gd name="connsiteX1" fmla="*/ 11591925 w 11591925"/>
              <a:gd name="connsiteY1" fmla="*/ 0 h 1727200"/>
              <a:gd name="connsiteX2" fmla="*/ 11591925 w 11591925"/>
              <a:gd name="connsiteY2" fmla="*/ 932631 h 1727200"/>
              <a:gd name="connsiteX3" fmla="*/ 10010360 w 11591925"/>
              <a:gd name="connsiteY3" fmla="*/ 932631 h 1727200"/>
              <a:gd name="connsiteX4" fmla="*/ 9829612 w 11591925"/>
              <a:gd name="connsiteY4" fmla="*/ 932631 h 1727200"/>
              <a:gd name="connsiteX5" fmla="*/ 9568745 w 11591925"/>
              <a:gd name="connsiteY5" fmla="*/ 1330177 h 1727200"/>
              <a:gd name="connsiteX6" fmla="*/ 9325687 w 11591925"/>
              <a:gd name="connsiteY6" fmla="*/ 1727200 h 1727200"/>
              <a:gd name="connsiteX7" fmla="*/ 0 w 11591925"/>
              <a:gd name="connsiteY7" fmla="*/ 1727200 h 172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1727200">
                <a:moveTo>
                  <a:pt x="0" y="0"/>
                </a:moveTo>
                <a:lnTo>
                  <a:pt x="11591925" y="0"/>
                </a:lnTo>
                <a:lnTo>
                  <a:pt x="11591925" y="932631"/>
                </a:lnTo>
                <a:lnTo>
                  <a:pt x="10010360" y="932631"/>
                </a:lnTo>
                <a:lnTo>
                  <a:pt x="9829612" y="932631"/>
                </a:lnTo>
                <a:cubicBezTo>
                  <a:pt x="9568745" y="932631"/>
                  <a:pt x="9568745" y="1107572"/>
                  <a:pt x="9568745" y="1330177"/>
                </a:cubicBezTo>
                <a:cubicBezTo>
                  <a:pt x="9568745" y="1587352"/>
                  <a:pt x="9445644" y="1697345"/>
                  <a:pt x="9325687" y="1727200"/>
                </a:cubicBezTo>
                <a:lnTo>
                  <a:pt x="0" y="1727200"/>
                </a:lnTo>
                <a:close/>
              </a:path>
            </a:pathLst>
          </a:custGeom>
          <a:solidFill>
            <a:schemeClr val="accent5"/>
          </a:solidFill>
        </p:spPr>
        <p:txBody>
          <a:bodyPr wrap="square" tIns="360000">
            <a:noAutofit/>
          </a:bodyPr>
          <a:lstStyle>
            <a:lvl1pPr algn="ctr">
              <a:defRPr sz="1400">
                <a:solidFill>
                  <a:schemeClr val="bg1"/>
                </a:solidFill>
              </a:defRPr>
            </a:lvl1pPr>
          </a:lstStyle>
          <a:p>
            <a:r>
              <a:rPr lang="en-GB"/>
              <a:t>HOW TO INSERT PICTURE FROM SHAREPOINT OR COMPUTER?</a:t>
            </a:r>
            <a:br>
              <a:rPr lang="en-GB"/>
            </a:br>
            <a:br>
              <a:rPr lang="en-GB"/>
            </a:br>
            <a:r>
              <a:rPr lang="en-GB"/>
              <a:t> Select picture placeholder and go to Ribbon &gt; Loyens &amp; Loeff Tab &gt; </a:t>
            </a:r>
            <a:br>
              <a:rPr lang="en-GB"/>
            </a:br>
            <a:r>
              <a:rPr lang="en-GB"/>
              <a:t>Click ‘Insert picture’ button and select picture from SharePoint </a:t>
            </a:r>
            <a:br>
              <a:rPr lang="en-GB"/>
            </a:br>
            <a:r>
              <a:rPr lang="en-GB"/>
              <a:t>or click icon to place a picture from your computer</a:t>
            </a:r>
          </a:p>
        </p:txBody>
      </p:sp>
      <p:sp>
        <p:nvSpPr>
          <p:cNvPr id="33" name="Text Placeholder 32"/>
          <p:cNvSpPr>
            <a:spLocks noGrp="1"/>
          </p:cNvSpPr>
          <p:nvPr>
            <p:ph type="body" sz="quarter" idx="14" hasCustomPrompt="1"/>
          </p:nvPr>
        </p:nvSpPr>
        <p:spPr>
          <a:xfrm>
            <a:off x="1343831" y="2623768"/>
            <a:ext cx="1295785" cy="1731243"/>
          </a:xfrm>
          <a:prstGeom prst="rect">
            <a:avLst/>
          </a:prstGeom>
        </p:spPr>
        <p:txBody>
          <a:bodyPr/>
          <a:lstStyle>
            <a:lvl1pPr>
              <a:lnSpc>
                <a:spcPct val="90000"/>
              </a:lnSpc>
              <a:spcBef>
                <a:spcPts val="0"/>
              </a:spcBef>
              <a:defRPr sz="12500" b="0">
                <a:solidFill>
                  <a:schemeClr val="accent2"/>
                </a:solidFill>
                <a:latin typeface="Arial Black" panose="020B0A04020102020204" pitchFamily="34" charset="0"/>
              </a:defRPr>
            </a:lvl1pPr>
          </a:lstStyle>
          <a:p>
            <a:pPr lvl="0"/>
            <a:r>
              <a:rPr lang="en-GB"/>
              <a:t>1</a:t>
            </a:r>
          </a:p>
        </p:txBody>
      </p:sp>
      <p:sp>
        <p:nvSpPr>
          <p:cNvPr id="2" name="Titel 1"/>
          <p:cNvSpPr>
            <a:spLocks noGrp="1"/>
          </p:cNvSpPr>
          <p:nvPr>
            <p:ph type="ctrTitle"/>
          </p:nvPr>
        </p:nvSpPr>
        <p:spPr>
          <a:xfrm>
            <a:off x="2765078" y="3589425"/>
            <a:ext cx="6860646" cy="443198"/>
          </a:xfrm>
        </p:spPr>
        <p:txBody>
          <a:bodyPr wrap="square" anchor="t" anchorCtr="0">
            <a:spAutoFit/>
          </a:bodyPr>
          <a:lstStyle>
            <a:lvl1pPr algn="l">
              <a:lnSpc>
                <a:spcPct val="90000"/>
              </a:lnSpc>
              <a:defRPr sz="3200">
                <a:latin typeface="Arial Black" panose="020B0A04020102020204" pitchFamily="34" charset="0"/>
              </a:defRPr>
            </a:lvl1pPr>
          </a:lstStyle>
          <a:p>
            <a:r>
              <a:rPr lang="en-GB" noProof="0"/>
              <a:t>Click to edit Master title style</a:t>
            </a:r>
            <a:endParaRPr lang="en-GB"/>
          </a:p>
        </p:txBody>
      </p:sp>
      <p:sp>
        <p:nvSpPr>
          <p:cNvPr id="3" name="Ondertitel 2"/>
          <p:cNvSpPr>
            <a:spLocks noGrp="1"/>
          </p:cNvSpPr>
          <p:nvPr>
            <p:ph type="subTitle" idx="1" hasCustomPrompt="1"/>
          </p:nvPr>
        </p:nvSpPr>
        <p:spPr>
          <a:xfrm>
            <a:off x="2765077" y="4760913"/>
            <a:ext cx="6860650" cy="246221"/>
          </a:xfrm>
          <a:prstGeom prst="rect">
            <a:avLst/>
          </a:prstGeom>
        </p:spPr>
        <p:txBody>
          <a:bodyPr wrap="square">
            <a:spAutoFit/>
          </a:bodyPr>
          <a:lstStyle>
            <a:lvl1pPr marL="0" indent="0" algn="l">
              <a:lnSpc>
                <a:spcPct val="100000"/>
              </a:lnSpc>
              <a:spcBef>
                <a:spcPts val="0"/>
              </a:spcBef>
              <a:buNone/>
              <a:defRPr sz="1600" b="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grpSp>
        <p:nvGrpSpPr>
          <p:cNvPr id="25" name="Group 24"/>
          <p:cNvGrpSpPr/>
          <p:nvPr userDrawn="1"/>
        </p:nvGrpSpPr>
        <p:grpSpPr>
          <a:xfrm>
            <a:off x="9625724" y="1229494"/>
            <a:ext cx="2566276" cy="1589138"/>
            <a:chOff x="8962934" y="3185478"/>
            <a:chExt cx="3229066" cy="1999563"/>
          </a:xfrm>
        </p:grpSpPr>
        <p:sp>
          <p:nvSpPr>
            <p:cNvPr id="26" name="Freeform: Shape 6"/>
            <p:cNvSpPr>
              <a:spLocks/>
            </p:cNvSpPr>
            <p:nvPr userDrawn="1"/>
          </p:nvSpPr>
          <p:spPr bwMode="auto">
            <a:xfrm flipH="1">
              <a:off x="8962935" y="3185478"/>
              <a:ext cx="3229065" cy="999782"/>
            </a:xfrm>
            <a:custGeom>
              <a:avLst/>
              <a:gdLst>
                <a:gd name="connsiteX0" fmla="*/ 0 w 4037812"/>
                <a:gd name="connsiteY0" fmla="*/ 0 h 1250186"/>
                <a:gd name="connsiteX1" fmla="*/ 284391 w 4037812"/>
                <a:gd name="connsiteY1" fmla="*/ 0 h 1250186"/>
                <a:gd name="connsiteX2" fmla="*/ 2960538 w 4037812"/>
                <a:gd name="connsiteY2" fmla="*/ 0 h 1250186"/>
                <a:gd name="connsiteX3" fmla="*/ 3244929 w 4037812"/>
                <a:gd name="connsiteY3" fmla="*/ 0 h 1250186"/>
                <a:gd name="connsiteX4" fmla="*/ 3655382 w 4037812"/>
                <a:gd name="connsiteY4" fmla="*/ 625505 h 1250186"/>
                <a:gd name="connsiteX5" fmla="*/ 4037812 w 4037812"/>
                <a:gd name="connsiteY5" fmla="*/ 1250186 h 1250186"/>
                <a:gd name="connsiteX6" fmla="*/ 3753421 w 4037812"/>
                <a:gd name="connsiteY6" fmla="*/ 1250186 h 1250186"/>
                <a:gd name="connsiteX7" fmla="*/ 284391 w 4037812"/>
                <a:gd name="connsiteY7" fmla="*/ 1250186 h 1250186"/>
                <a:gd name="connsiteX8" fmla="*/ 0 w 4037812"/>
                <a:gd name="connsiteY8" fmla="*/ 1250186 h 125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7812" h="1250186">
                  <a:moveTo>
                    <a:pt x="0" y="0"/>
                  </a:moveTo>
                  <a:lnTo>
                    <a:pt x="284391" y="0"/>
                  </a:lnTo>
                  <a:lnTo>
                    <a:pt x="2960538" y="0"/>
                  </a:lnTo>
                  <a:lnTo>
                    <a:pt x="3244929" y="0"/>
                  </a:lnTo>
                  <a:cubicBezTo>
                    <a:pt x="3655382" y="0"/>
                    <a:pt x="3655382" y="275255"/>
                    <a:pt x="3655382" y="625505"/>
                  </a:cubicBezTo>
                  <a:cubicBezTo>
                    <a:pt x="3655382" y="1030147"/>
                    <a:pt x="3849070" y="1203211"/>
                    <a:pt x="4037812" y="1250186"/>
                  </a:cubicBezTo>
                  <a:lnTo>
                    <a:pt x="3753421" y="1250186"/>
                  </a:lnTo>
                  <a:lnTo>
                    <a:pt x="284391" y="1250186"/>
                  </a:lnTo>
                  <a:lnTo>
                    <a:pt x="0" y="1250186"/>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noAutofit/>
            </a:bodyPr>
            <a:lstStyle/>
            <a:p>
              <a:endParaRPr lang="nl-NL"/>
            </a:p>
          </p:txBody>
        </p:sp>
        <p:grpSp>
          <p:nvGrpSpPr>
            <p:cNvPr id="27" name="Groep 10"/>
            <p:cNvGrpSpPr/>
            <p:nvPr userDrawn="1"/>
          </p:nvGrpSpPr>
          <p:grpSpPr>
            <a:xfrm>
              <a:off x="9710831" y="3461481"/>
              <a:ext cx="2040634" cy="353598"/>
              <a:chOff x="990600" y="-7938"/>
              <a:chExt cx="10645776" cy="1844675"/>
            </a:xfrm>
            <a:solidFill>
              <a:schemeClr val="bg1"/>
            </a:solidFill>
          </p:grpSpPr>
          <p:sp>
            <p:nvSpPr>
              <p:cNvPr id="30" name="Freeform 5"/>
              <p:cNvSpPr>
                <a:spLocks noEditPoints="1"/>
              </p:cNvSpPr>
              <p:nvPr/>
            </p:nvSpPr>
            <p:spPr bwMode="auto">
              <a:xfrm>
                <a:off x="6269038" y="-7938"/>
                <a:ext cx="1106488" cy="1844675"/>
              </a:xfrm>
              <a:custGeom>
                <a:avLst/>
                <a:gdLst>
                  <a:gd name="T0" fmla="*/ 87 w 99"/>
                  <a:gd name="T1" fmla="*/ 143 h 151"/>
                  <a:gd name="T2" fmla="*/ 87 w 99"/>
                  <a:gd name="T3" fmla="*/ 143 h 151"/>
                  <a:gd name="T4" fmla="*/ 33 w 99"/>
                  <a:gd name="T5" fmla="*/ 143 h 151"/>
                  <a:gd name="T6" fmla="*/ 33 w 99"/>
                  <a:gd name="T7" fmla="*/ 142 h 151"/>
                  <a:gd name="T8" fmla="*/ 41 w 99"/>
                  <a:gd name="T9" fmla="*/ 94 h 151"/>
                  <a:gd name="T10" fmla="*/ 49 w 99"/>
                  <a:gd name="T11" fmla="*/ 84 h 151"/>
                  <a:gd name="T12" fmla="*/ 41 w 99"/>
                  <a:gd name="T13" fmla="*/ 136 h 151"/>
                  <a:gd name="T14" fmla="*/ 40 w 99"/>
                  <a:gd name="T15" fmla="*/ 137 h 151"/>
                  <a:gd name="T16" fmla="*/ 45 w 99"/>
                  <a:gd name="T17" fmla="*/ 137 h 151"/>
                  <a:gd name="T18" fmla="*/ 45 w 99"/>
                  <a:gd name="T19" fmla="*/ 137 h 151"/>
                  <a:gd name="T20" fmla="*/ 88 w 99"/>
                  <a:gd name="T21" fmla="*/ 137 h 151"/>
                  <a:gd name="T22" fmla="*/ 87 w 99"/>
                  <a:gd name="T23" fmla="*/ 143 h 151"/>
                  <a:gd name="T24" fmla="*/ 65 w 99"/>
                  <a:gd name="T25" fmla="*/ 32 h 151"/>
                  <a:gd name="T26" fmla="*/ 65 w 99"/>
                  <a:gd name="T27" fmla="*/ 32 h 151"/>
                  <a:gd name="T28" fmla="*/ 66 w 99"/>
                  <a:gd name="T29" fmla="*/ 30 h 151"/>
                  <a:gd name="T30" fmla="*/ 82 w 99"/>
                  <a:gd name="T31" fmla="*/ 4 h 151"/>
                  <a:gd name="T32" fmla="*/ 90 w 99"/>
                  <a:gd name="T33" fmla="*/ 8 h 151"/>
                  <a:gd name="T34" fmla="*/ 61 w 99"/>
                  <a:gd name="T35" fmla="*/ 65 h 151"/>
                  <a:gd name="T36" fmla="*/ 59 w 99"/>
                  <a:gd name="T37" fmla="*/ 67 h 151"/>
                  <a:gd name="T38" fmla="*/ 65 w 99"/>
                  <a:gd name="T39" fmla="*/ 32 h 151"/>
                  <a:gd name="T40" fmla="*/ 50 w 99"/>
                  <a:gd name="T41" fmla="*/ 129 h 151"/>
                  <a:gd name="T42" fmla="*/ 50 w 99"/>
                  <a:gd name="T43" fmla="*/ 129 h 151"/>
                  <a:gd name="T44" fmla="*/ 59 w 99"/>
                  <a:gd name="T45" fmla="*/ 73 h 151"/>
                  <a:gd name="T46" fmla="*/ 62 w 99"/>
                  <a:gd name="T47" fmla="*/ 70 h 151"/>
                  <a:gd name="T48" fmla="*/ 92 w 99"/>
                  <a:gd name="T49" fmla="*/ 7 h 151"/>
                  <a:gd name="T50" fmla="*/ 81 w 99"/>
                  <a:gd name="T51" fmla="*/ 3 h 151"/>
                  <a:gd name="T52" fmla="*/ 62 w 99"/>
                  <a:gd name="T53" fmla="*/ 25 h 151"/>
                  <a:gd name="T54" fmla="*/ 61 w 99"/>
                  <a:gd name="T55" fmla="*/ 29 h 151"/>
                  <a:gd name="T56" fmla="*/ 51 w 99"/>
                  <a:gd name="T57" fmla="*/ 72 h 151"/>
                  <a:gd name="T58" fmla="*/ 50 w 99"/>
                  <a:gd name="T59" fmla="*/ 75 h 151"/>
                  <a:gd name="T60" fmla="*/ 42 w 99"/>
                  <a:gd name="T61" fmla="*/ 84 h 151"/>
                  <a:gd name="T62" fmla="*/ 49 w 99"/>
                  <a:gd name="T63" fmla="*/ 42 h 151"/>
                  <a:gd name="T64" fmla="*/ 33 w 99"/>
                  <a:gd name="T65" fmla="*/ 42 h 151"/>
                  <a:gd name="T66" fmla="*/ 32 w 99"/>
                  <a:gd name="T67" fmla="*/ 44 h 151"/>
                  <a:gd name="T68" fmla="*/ 38 w 99"/>
                  <a:gd name="T69" fmla="*/ 44 h 151"/>
                  <a:gd name="T70" fmla="*/ 40 w 99"/>
                  <a:gd name="T71" fmla="*/ 46 h 151"/>
                  <a:gd name="T72" fmla="*/ 40 w 99"/>
                  <a:gd name="T73" fmla="*/ 47 h 151"/>
                  <a:gd name="T74" fmla="*/ 32 w 99"/>
                  <a:gd name="T75" fmla="*/ 95 h 151"/>
                  <a:gd name="T76" fmla="*/ 1 w 99"/>
                  <a:gd name="T77" fmla="*/ 130 h 151"/>
                  <a:gd name="T78" fmla="*/ 0 w 99"/>
                  <a:gd name="T79" fmla="*/ 140 h 151"/>
                  <a:gd name="T80" fmla="*/ 31 w 99"/>
                  <a:gd name="T81" fmla="*/ 105 h 151"/>
                  <a:gd name="T82" fmla="*/ 23 w 99"/>
                  <a:gd name="T83" fmla="*/ 151 h 151"/>
                  <a:gd name="T84" fmla="*/ 94 w 99"/>
                  <a:gd name="T85" fmla="*/ 151 h 151"/>
                  <a:gd name="T86" fmla="*/ 97 w 99"/>
                  <a:gd name="T87" fmla="*/ 129 h 151"/>
                  <a:gd name="T88" fmla="*/ 50 w 99"/>
                  <a:gd name="T8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51">
                    <a:moveTo>
                      <a:pt x="87" y="143"/>
                    </a:moveTo>
                    <a:lnTo>
                      <a:pt x="87" y="143"/>
                    </a:lnTo>
                    <a:lnTo>
                      <a:pt x="33" y="143"/>
                    </a:lnTo>
                    <a:cubicBezTo>
                      <a:pt x="33" y="143"/>
                      <a:pt x="33" y="142"/>
                      <a:pt x="33" y="142"/>
                    </a:cubicBezTo>
                    <a:lnTo>
                      <a:pt x="41" y="94"/>
                    </a:lnTo>
                    <a:lnTo>
                      <a:pt x="49" y="84"/>
                    </a:lnTo>
                    <a:lnTo>
                      <a:pt x="41" y="136"/>
                    </a:lnTo>
                    <a:cubicBezTo>
                      <a:pt x="41" y="136"/>
                      <a:pt x="41" y="137"/>
                      <a:pt x="40" y="137"/>
                    </a:cubicBezTo>
                    <a:lnTo>
                      <a:pt x="45" y="137"/>
                    </a:lnTo>
                    <a:lnTo>
                      <a:pt x="45" y="137"/>
                    </a:lnTo>
                    <a:lnTo>
                      <a:pt x="88" y="137"/>
                    </a:lnTo>
                    <a:lnTo>
                      <a:pt x="87" y="143"/>
                    </a:lnTo>
                    <a:close/>
                    <a:moveTo>
                      <a:pt x="65" y="32"/>
                    </a:moveTo>
                    <a:lnTo>
                      <a:pt x="65" y="32"/>
                    </a:lnTo>
                    <a:lnTo>
                      <a:pt x="66" y="30"/>
                    </a:lnTo>
                    <a:cubicBezTo>
                      <a:pt x="67" y="23"/>
                      <a:pt x="74" y="8"/>
                      <a:pt x="82" y="4"/>
                    </a:cubicBezTo>
                    <a:cubicBezTo>
                      <a:pt x="86" y="3"/>
                      <a:pt x="88" y="3"/>
                      <a:pt x="90" y="8"/>
                    </a:cubicBezTo>
                    <a:cubicBezTo>
                      <a:pt x="95" y="18"/>
                      <a:pt x="81" y="45"/>
                      <a:pt x="61" y="65"/>
                    </a:cubicBezTo>
                    <a:cubicBezTo>
                      <a:pt x="61" y="65"/>
                      <a:pt x="59" y="67"/>
                      <a:pt x="59" y="67"/>
                    </a:cubicBezTo>
                    <a:cubicBezTo>
                      <a:pt x="61" y="57"/>
                      <a:pt x="62" y="43"/>
                      <a:pt x="65" y="32"/>
                    </a:cubicBezTo>
                    <a:close/>
                    <a:moveTo>
                      <a:pt x="50" y="129"/>
                    </a:moveTo>
                    <a:lnTo>
                      <a:pt x="50" y="129"/>
                    </a:lnTo>
                    <a:lnTo>
                      <a:pt x="59" y="73"/>
                    </a:lnTo>
                    <a:cubicBezTo>
                      <a:pt x="59" y="73"/>
                      <a:pt x="61" y="70"/>
                      <a:pt x="62" y="70"/>
                    </a:cubicBezTo>
                    <a:cubicBezTo>
                      <a:pt x="80" y="50"/>
                      <a:pt x="99" y="21"/>
                      <a:pt x="92" y="7"/>
                    </a:cubicBezTo>
                    <a:cubicBezTo>
                      <a:pt x="90" y="2"/>
                      <a:pt x="86" y="0"/>
                      <a:pt x="81" y="3"/>
                    </a:cubicBezTo>
                    <a:cubicBezTo>
                      <a:pt x="73" y="6"/>
                      <a:pt x="65" y="17"/>
                      <a:pt x="62" y="25"/>
                    </a:cubicBezTo>
                    <a:cubicBezTo>
                      <a:pt x="62" y="25"/>
                      <a:pt x="61" y="27"/>
                      <a:pt x="61" y="29"/>
                    </a:cubicBezTo>
                    <a:cubicBezTo>
                      <a:pt x="55" y="43"/>
                      <a:pt x="53" y="58"/>
                      <a:pt x="51" y="72"/>
                    </a:cubicBezTo>
                    <a:cubicBezTo>
                      <a:pt x="50" y="73"/>
                      <a:pt x="50" y="74"/>
                      <a:pt x="50" y="75"/>
                    </a:cubicBezTo>
                    <a:lnTo>
                      <a:pt x="42" y="84"/>
                    </a:lnTo>
                    <a:lnTo>
                      <a:pt x="49" y="42"/>
                    </a:lnTo>
                    <a:lnTo>
                      <a:pt x="33" y="42"/>
                    </a:lnTo>
                    <a:lnTo>
                      <a:pt x="32" y="44"/>
                    </a:lnTo>
                    <a:cubicBezTo>
                      <a:pt x="32" y="44"/>
                      <a:pt x="35" y="44"/>
                      <a:pt x="38" y="44"/>
                    </a:cubicBezTo>
                    <a:cubicBezTo>
                      <a:pt x="39" y="44"/>
                      <a:pt x="40" y="46"/>
                      <a:pt x="40" y="46"/>
                    </a:cubicBezTo>
                    <a:cubicBezTo>
                      <a:pt x="40" y="47"/>
                      <a:pt x="40" y="47"/>
                      <a:pt x="40" y="47"/>
                    </a:cubicBezTo>
                    <a:lnTo>
                      <a:pt x="32" y="95"/>
                    </a:lnTo>
                    <a:lnTo>
                      <a:pt x="1" y="130"/>
                    </a:lnTo>
                    <a:lnTo>
                      <a:pt x="0" y="140"/>
                    </a:lnTo>
                    <a:lnTo>
                      <a:pt x="31" y="105"/>
                    </a:lnTo>
                    <a:lnTo>
                      <a:pt x="23" y="151"/>
                    </a:lnTo>
                    <a:lnTo>
                      <a:pt x="94" y="151"/>
                    </a:lnTo>
                    <a:lnTo>
                      <a:pt x="97" y="129"/>
                    </a:lnTo>
                    <a:lnTo>
                      <a:pt x="50" y="12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1" name="Freeform 6"/>
              <p:cNvSpPr>
                <a:spLocks/>
              </p:cNvSpPr>
              <p:nvPr/>
            </p:nvSpPr>
            <p:spPr bwMode="auto">
              <a:xfrm>
                <a:off x="7700963"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2" name="Freeform 7"/>
              <p:cNvSpPr>
                <a:spLocks noEditPoints="1"/>
              </p:cNvSpPr>
              <p:nvPr/>
            </p:nvSpPr>
            <p:spPr bwMode="auto">
              <a:xfrm>
                <a:off x="8326438" y="688975"/>
                <a:ext cx="939800" cy="977900"/>
              </a:xfrm>
              <a:custGeom>
                <a:avLst/>
                <a:gdLst>
                  <a:gd name="T0" fmla="*/ 84 w 84"/>
                  <a:gd name="T1" fmla="*/ 40 h 80"/>
                  <a:gd name="T2" fmla="*/ 84 w 84"/>
                  <a:gd name="T3" fmla="*/ 40 h 80"/>
                  <a:gd name="T4" fmla="*/ 42 w 84"/>
                  <a:gd name="T5" fmla="*/ 0 h 80"/>
                  <a:gd name="T6" fmla="*/ 0 w 84"/>
                  <a:gd name="T7" fmla="*/ 40 h 80"/>
                  <a:gd name="T8" fmla="*/ 42 w 84"/>
                  <a:gd name="T9" fmla="*/ 80 h 80"/>
                  <a:gd name="T10" fmla="*/ 84 w 84"/>
                  <a:gd name="T11" fmla="*/ 40 h 80"/>
                  <a:gd name="T12" fmla="*/ 71 w 84"/>
                  <a:gd name="T13" fmla="*/ 40 h 80"/>
                  <a:gd name="T14" fmla="*/ 71 w 84"/>
                  <a:gd name="T15" fmla="*/ 40 h 80"/>
                  <a:gd name="T16" fmla="*/ 42 w 84"/>
                  <a:gd name="T17" fmla="*/ 70 h 80"/>
                  <a:gd name="T18" fmla="*/ 12 w 84"/>
                  <a:gd name="T19" fmla="*/ 40 h 80"/>
                  <a:gd name="T20" fmla="*/ 42 w 84"/>
                  <a:gd name="T21" fmla="*/ 11 h 80"/>
                  <a:gd name="T22" fmla="*/ 71 w 84"/>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84" y="40"/>
                    </a:moveTo>
                    <a:lnTo>
                      <a:pt x="84" y="40"/>
                    </a:lnTo>
                    <a:cubicBezTo>
                      <a:pt x="84" y="17"/>
                      <a:pt x="66" y="0"/>
                      <a:pt x="42" y="0"/>
                    </a:cubicBezTo>
                    <a:cubicBezTo>
                      <a:pt x="17" y="0"/>
                      <a:pt x="0" y="17"/>
                      <a:pt x="0" y="40"/>
                    </a:cubicBezTo>
                    <a:cubicBezTo>
                      <a:pt x="0" y="63"/>
                      <a:pt x="17" y="80"/>
                      <a:pt x="42" y="80"/>
                    </a:cubicBezTo>
                    <a:cubicBezTo>
                      <a:pt x="66" y="80"/>
                      <a:pt x="84" y="63"/>
                      <a:pt x="84" y="40"/>
                    </a:cubicBezTo>
                    <a:close/>
                    <a:moveTo>
                      <a:pt x="71" y="40"/>
                    </a:moveTo>
                    <a:lnTo>
                      <a:pt x="71" y="40"/>
                    </a:lnTo>
                    <a:cubicBezTo>
                      <a:pt x="71" y="57"/>
                      <a:pt x="59" y="70"/>
                      <a:pt x="42" y="70"/>
                    </a:cubicBezTo>
                    <a:cubicBezTo>
                      <a:pt x="25" y="70"/>
                      <a:pt x="12" y="57"/>
                      <a:pt x="12" y="40"/>
                    </a:cubicBezTo>
                    <a:cubicBezTo>
                      <a:pt x="12" y="23"/>
                      <a:pt x="25" y="11"/>
                      <a:pt x="42" y="11"/>
                    </a:cubicBezTo>
                    <a:cubicBezTo>
                      <a:pt x="59" y="11"/>
                      <a:pt x="71" y="23"/>
                      <a:pt x="71"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4" name="Freeform 8"/>
              <p:cNvSpPr>
                <a:spLocks/>
              </p:cNvSpPr>
              <p:nvPr/>
            </p:nvSpPr>
            <p:spPr bwMode="auto">
              <a:xfrm>
                <a:off x="9534525" y="712788"/>
                <a:ext cx="536575"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5" name="Freeform 9"/>
              <p:cNvSpPr>
                <a:spLocks/>
              </p:cNvSpPr>
              <p:nvPr/>
            </p:nvSpPr>
            <p:spPr bwMode="auto">
              <a:xfrm>
                <a:off x="10328275" y="712788"/>
                <a:ext cx="536575" cy="928688"/>
              </a:xfrm>
              <a:custGeom>
                <a:avLst/>
                <a:gdLst>
                  <a:gd name="T0" fmla="*/ 13 w 48"/>
                  <a:gd name="T1" fmla="*/ 10 h 76"/>
                  <a:gd name="T2" fmla="*/ 13 w 48"/>
                  <a:gd name="T3" fmla="*/ 10 h 76"/>
                  <a:gd name="T4" fmla="*/ 13 w 48"/>
                  <a:gd name="T5" fmla="*/ 33 h 76"/>
                  <a:gd name="T6" fmla="*/ 42 w 48"/>
                  <a:gd name="T7" fmla="*/ 33 h 76"/>
                  <a:gd name="T8" fmla="*/ 42 w 48"/>
                  <a:gd name="T9" fmla="*/ 43 h 76"/>
                  <a:gd name="T10" fmla="*/ 13 w 48"/>
                  <a:gd name="T11" fmla="*/ 43 h 76"/>
                  <a:gd name="T12" fmla="*/ 13 w 48"/>
                  <a:gd name="T13" fmla="*/ 76 h 76"/>
                  <a:gd name="T14" fmla="*/ 0 w 48"/>
                  <a:gd name="T15" fmla="*/ 76 h 76"/>
                  <a:gd name="T16" fmla="*/ 0 w 48"/>
                  <a:gd name="T17" fmla="*/ 0 h 76"/>
                  <a:gd name="T18" fmla="*/ 48 w 48"/>
                  <a:gd name="T19" fmla="*/ 0 h 76"/>
                  <a:gd name="T20" fmla="*/ 48 w 48"/>
                  <a:gd name="T21" fmla="*/ 10 h 76"/>
                  <a:gd name="T22" fmla="*/ 13 w 48"/>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6">
                    <a:moveTo>
                      <a:pt x="13" y="10"/>
                    </a:moveTo>
                    <a:lnTo>
                      <a:pt x="13" y="10"/>
                    </a:lnTo>
                    <a:lnTo>
                      <a:pt x="13" y="33"/>
                    </a:lnTo>
                    <a:lnTo>
                      <a:pt x="42" y="33"/>
                    </a:lnTo>
                    <a:lnTo>
                      <a:pt x="42" y="43"/>
                    </a:lnTo>
                    <a:lnTo>
                      <a:pt x="13" y="43"/>
                    </a:lnTo>
                    <a:lnTo>
                      <a:pt x="13" y="76"/>
                    </a:lnTo>
                    <a:lnTo>
                      <a:pt x="0" y="76"/>
                    </a:lnTo>
                    <a:lnTo>
                      <a:pt x="0" y="0"/>
                    </a:lnTo>
                    <a:lnTo>
                      <a:pt x="48" y="0"/>
                    </a:lnTo>
                    <a:lnTo>
                      <a:pt x="48" y="10"/>
                    </a:lnTo>
                    <a:lnTo>
                      <a:pt x="13"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6" name="Freeform 10"/>
              <p:cNvSpPr>
                <a:spLocks/>
              </p:cNvSpPr>
              <p:nvPr/>
            </p:nvSpPr>
            <p:spPr bwMode="auto">
              <a:xfrm>
                <a:off x="11110913" y="712788"/>
                <a:ext cx="525463" cy="928688"/>
              </a:xfrm>
              <a:custGeom>
                <a:avLst/>
                <a:gdLst>
                  <a:gd name="T0" fmla="*/ 12 w 47"/>
                  <a:gd name="T1" fmla="*/ 10 h 76"/>
                  <a:gd name="T2" fmla="*/ 12 w 47"/>
                  <a:gd name="T3" fmla="*/ 10 h 76"/>
                  <a:gd name="T4" fmla="*/ 12 w 47"/>
                  <a:gd name="T5" fmla="*/ 33 h 76"/>
                  <a:gd name="T6" fmla="*/ 41 w 47"/>
                  <a:gd name="T7" fmla="*/ 33 h 76"/>
                  <a:gd name="T8" fmla="*/ 41 w 47"/>
                  <a:gd name="T9" fmla="*/ 43 h 76"/>
                  <a:gd name="T10" fmla="*/ 12 w 47"/>
                  <a:gd name="T11" fmla="*/ 43 h 76"/>
                  <a:gd name="T12" fmla="*/ 12 w 47"/>
                  <a:gd name="T13" fmla="*/ 76 h 76"/>
                  <a:gd name="T14" fmla="*/ 0 w 47"/>
                  <a:gd name="T15" fmla="*/ 76 h 76"/>
                  <a:gd name="T16" fmla="*/ 0 w 47"/>
                  <a:gd name="T17" fmla="*/ 0 h 76"/>
                  <a:gd name="T18" fmla="*/ 47 w 47"/>
                  <a:gd name="T19" fmla="*/ 0 h 76"/>
                  <a:gd name="T20" fmla="*/ 47 w 47"/>
                  <a:gd name="T21" fmla="*/ 10 h 76"/>
                  <a:gd name="T22" fmla="*/ 12 w 47"/>
                  <a:gd name="T2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76">
                    <a:moveTo>
                      <a:pt x="12" y="10"/>
                    </a:moveTo>
                    <a:lnTo>
                      <a:pt x="12" y="10"/>
                    </a:lnTo>
                    <a:lnTo>
                      <a:pt x="12" y="33"/>
                    </a:lnTo>
                    <a:lnTo>
                      <a:pt x="41" y="33"/>
                    </a:lnTo>
                    <a:lnTo>
                      <a:pt x="41" y="43"/>
                    </a:lnTo>
                    <a:lnTo>
                      <a:pt x="12" y="43"/>
                    </a:lnTo>
                    <a:lnTo>
                      <a:pt x="12" y="76"/>
                    </a:lnTo>
                    <a:lnTo>
                      <a:pt x="0" y="76"/>
                    </a:lnTo>
                    <a:lnTo>
                      <a:pt x="0" y="0"/>
                    </a:lnTo>
                    <a:lnTo>
                      <a:pt x="47" y="0"/>
                    </a:lnTo>
                    <a:lnTo>
                      <a:pt x="47" y="10"/>
                    </a:lnTo>
                    <a:lnTo>
                      <a:pt x="12"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7" name="Freeform 11"/>
              <p:cNvSpPr>
                <a:spLocks/>
              </p:cNvSpPr>
              <p:nvPr/>
            </p:nvSpPr>
            <p:spPr bwMode="auto">
              <a:xfrm>
                <a:off x="990600" y="712788"/>
                <a:ext cx="536575" cy="928688"/>
              </a:xfrm>
              <a:custGeom>
                <a:avLst/>
                <a:gdLst>
                  <a:gd name="T0" fmla="*/ 0 w 48"/>
                  <a:gd name="T1" fmla="*/ 76 h 76"/>
                  <a:gd name="T2" fmla="*/ 0 w 48"/>
                  <a:gd name="T3" fmla="*/ 76 h 76"/>
                  <a:gd name="T4" fmla="*/ 0 w 48"/>
                  <a:gd name="T5" fmla="*/ 0 h 76"/>
                  <a:gd name="T6" fmla="*/ 12 w 48"/>
                  <a:gd name="T7" fmla="*/ 0 h 76"/>
                  <a:gd name="T8" fmla="*/ 12 w 48"/>
                  <a:gd name="T9" fmla="*/ 66 h 76"/>
                  <a:gd name="T10" fmla="*/ 48 w 48"/>
                  <a:gd name="T11" fmla="*/ 66 h 76"/>
                  <a:gd name="T12" fmla="*/ 48 w 48"/>
                  <a:gd name="T13" fmla="*/ 76 h 76"/>
                  <a:gd name="T14" fmla="*/ 0 w 48"/>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76">
                    <a:moveTo>
                      <a:pt x="0" y="76"/>
                    </a:moveTo>
                    <a:lnTo>
                      <a:pt x="0" y="76"/>
                    </a:lnTo>
                    <a:lnTo>
                      <a:pt x="0" y="0"/>
                    </a:lnTo>
                    <a:lnTo>
                      <a:pt x="12" y="0"/>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8" name="Freeform 12"/>
              <p:cNvSpPr>
                <a:spLocks noEditPoints="1"/>
              </p:cNvSpPr>
              <p:nvPr/>
            </p:nvSpPr>
            <p:spPr bwMode="auto">
              <a:xfrm>
                <a:off x="1604963" y="688975"/>
                <a:ext cx="950913" cy="977900"/>
              </a:xfrm>
              <a:custGeom>
                <a:avLst/>
                <a:gdLst>
                  <a:gd name="T0" fmla="*/ 85 w 85"/>
                  <a:gd name="T1" fmla="*/ 40 h 80"/>
                  <a:gd name="T2" fmla="*/ 85 w 85"/>
                  <a:gd name="T3" fmla="*/ 40 h 80"/>
                  <a:gd name="T4" fmla="*/ 43 w 85"/>
                  <a:gd name="T5" fmla="*/ 0 h 80"/>
                  <a:gd name="T6" fmla="*/ 0 w 85"/>
                  <a:gd name="T7" fmla="*/ 40 h 80"/>
                  <a:gd name="T8" fmla="*/ 43 w 85"/>
                  <a:gd name="T9" fmla="*/ 80 h 80"/>
                  <a:gd name="T10" fmla="*/ 85 w 85"/>
                  <a:gd name="T11" fmla="*/ 40 h 80"/>
                  <a:gd name="T12" fmla="*/ 72 w 85"/>
                  <a:gd name="T13" fmla="*/ 40 h 80"/>
                  <a:gd name="T14" fmla="*/ 72 w 85"/>
                  <a:gd name="T15" fmla="*/ 40 h 80"/>
                  <a:gd name="T16" fmla="*/ 43 w 85"/>
                  <a:gd name="T17" fmla="*/ 70 h 80"/>
                  <a:gd name="T18" fmla="*/ 13 w 85"/>
                  <a:gd name="T19" fmla="*/ 40 h 80"/>
                  <a:gd name="T20" fmla="*/ 43 w 85"/>
                  <a:gd name="T21" fmla="*/ 11 h 80"/>
                  <a:gd name="T22" fmla="*/ 72 w 85"/>
                  <a:gd name="T23"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0">
                    <a:moveTo>
                      <a:pt x="85" y="40"/>
                    </a:moveTo>
                    <a:lnTo>
                      <a:pt x="85" y="40"/>
                    </a:lnTo>
                    <a:cubicBezTo>
                      <a:pt x="85" y="17"/>
                      <a:pt x="67" y="0"/>
                      <a:pt x="43" y="0"/>
                    </a:cubicBezTo>
                    <a:cubicBezTo>
                      <a:pt x="18" y="0"/>
                      <a:pt x="0" y="17"/>
                      <a:pt x="0" y="40"/>
                    </a:cubicBezTo>
                    <a:cubicBezTo>
                      <a:pt x="0" y="63"/>
                      <a:pt x="18" y="80"/>
                      <a:pt x="43" y="80"/>
                    </a:cubicBezTo>
                    <a:cubicBezTo>
                      <a:pt x="67" y="80"/>
                      <a:pt x="85" y="63"/>
                      <a:pt x="85" y="40"/>
                    </a:cubicBezTo>
                    <a:close/>
                    <a:moveTo>
                      <a:pt x="72" y="40"/>
                    </a:moveTo>
                    <a:lnTo>
                      <a:pt x="72" y="40"/>
                    </a:lnTo>
                    <a:cubicBezTo>
                      <a:pt x="72" y="57"/>
                      <a:pt x="59" y="70"/>
                      <a:pt x="43" y="70"/>
                    </a:cubicBezTo>
                    <a:cubicBezTo>
                      <a:pt x="26" y="70"/>
                      <a:pt x="13" y="57"/>
                      <a:pt x="13" y="40"/>
                    </a:cubicBezTo>
                    <a:cubicBezTo>
                      <a:pt x="13" y="23"/>
                      <a:pt x="26" y="11"/>
                      <a:pt x="43" y="11"/>
                    </a:cubicBezTo>
                    <a:cubicBezTo>
                      <a:pt x="59" y="11"/>
                      <a:pt x="72" y="23"/>
                      <a:pt x="72"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39" name="Freeform 13"/>
              <p:cNvSpPr>
                <a:spLocks/>
              </p:cNvSpPr>
              <p:nvPr/>
            </p:nvSpPr>
            <p:spPr bwMode="auto">
              <a:xfrm>
                <a:off x="2657475" y="712788"/>
                <a:ext cx="760413" cy="928688"/>
              </a:xfrm>
              <a:custGeom>
                <a:avLst/>
                <a:gdLst>
                  <a:gd name="T0" fmla="*/ 39 w 68"/>
                  <a:gd name="T1" fmla="*/ 42 h 76"/>
                  <a:gd name="T2" fmla="*/ 39 w 68"/>
                  <a:gd name="T3" fmla="*/ 42 h 76"/>
                  <a:gd name="T4" fmla="*/ 39 w 68"/>
                  <a:gd name="T5" fmla="*/ 76 h 76"/>
                  <a:gd name="T6" fmla="*/ 27 w 68"/>
                  <a:gd name="T7" fmla="*/ 76 h 76"/>
                  <a:gd name="T8" fmla="*/ 27 w 68"/>
                  <a:gd name="T9" fmla="*/ 42 h 76"/>
                  <a:gd name="T10" fmla="*/ 0 w 68"/>
                  <a:gd name="T11" fmla="*/ 0 h 76"/>
                  <a:gd name="T12" fmla="*/ 14 w 68"/>
                  <a:gd name="T13" fmla="*/ 0 h 76"/>
                  <a:gd name="T14" fmla="*/ 34 w 68"/>
                  <a:gd name="T15" fmla="*/ 31 h 76"/>
                  <a:gd name="T16" fmla="*/ 54 w 68"/>
                  <a:gd name="T17" fmla="*/ 0 h 76"/>
                  <a:gd name="T18" fmla="*/ 68 w 68"/>
                  <a:gd name="T19" fmla="*/ 0 h 76"/>
                  <a:gd name="T20" fmla="*/ 39 w 68"/>
                  <a:gd name="T21"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6">
                    <a:moveTo>
                      <a:pt x="39" y="42"/>
                    </a:moveTo>
                    <a:lnTo>
                      <a:pt x="39" y="42"/>
                    </a:lnTo>
                    <a:lnTo>
                      <a:pt x="39" y="76"/>
                    </a:lnTo>
                    <a:lnTo>
                      <a:pt x="27" y="76"/>
                    </a:lnTo>
                    <a:lnTo>
                      <a:pt x="27" y="42"/>
                    </a:lnTo>
                    <a:lnTo>
                      <a:pt x="0" y="0"/>
                    </a:lnTo>
                    <a:lnTo>
                      <a:pt x="14" y="0"/>
                    </a:lnTo>
                    <a:lnTo>
                      <a:pt x="34" y="31"/>
                    </a:lnTo>
                    <a:lnTo>
                      <a:pt x="54" y="0"/>
                    </a:lnTo>
                    <a:lnTo>
                      <a:pt x="68" y="0"/>
                    </a:lnTo>
                    <a:lnTo>
                      <a:pt x="39"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0" name="Freeform 14"/>
              <p:cNvSpPr>
                <a:spLocks/>
              </p:cNvSpPr>
              <p:nvPr/>
            </p:nvSpPr>
            <p:spPr bwMode="auto">
              <a:xfrm>
                <a:off x="3617913" y="712788"/>
                <a:ext cx="538163" cy="928688"/>
              </a:xfrm>
              <a:custGeom>
                <a:avLst/>
                <a:gdLst>
                  <a:gd name="T0" fmla="*/ 0 w 48"/>
                  <a:gd name="T1" fmla="*/ 76 h 76"/>
                  <a:gd name="T2" fmla="*/ 0 w 48"/>
                  <a:gd name="T3" fmla="*/ 76 h 76"/>
                  <a:gd name="T4" fmla="*/ 0 w 48"/>
                  <a:gd name="T5" fmla="*/ 0 h 76"/>
                  <a:gd name="T6" fmla="*/ 47 w 48"/>
                  <a:gd name="T7" fmla="*/ 0 h 76"/>
                  <a:gd name="T8" fmla="*/ 47 w 48"/>
                  <a:gd name="T9" fmla="*/ 10 h 76"/>
                  <a:gd name="T10" fmla="*/ 12 w 48"/>
                  <a:gd name="T11" fmla="*/ 10 h 76"/>
                  <a:gd name="T12" fmla="*/ 12 w 48"/>
                  <a:gd name="T13" fmla="*/ 32 h 76"/>
                  <a:gd name="T14" fmla="*/ 41 w 48"/>
                  <a:gd name="T15" fmla="*/ 32 h 76"/>
                  <a:gd name="T16" fmla="*/ 41 w 48"/>
                  <a:gd name="T17" fmla="*/ 42 h 76"/>
                  <a:gd name="T18" fmla="*/ 12 w 48"/>
                  <a:gd name="T19" fmla="*/ 42 h 76"/>
                  <a:gd name="T20" fmla="*/ 12 w 48"/>
                  <a:gd name="T21" fmla="*/ 66 h 76"/>
                  <a:gd name="T22" fmla="*/ 48 w 48"/>
                  <a:gd name="T23" fmla="*/ 66 h 76"/>
                  <a:gd name="T24" fmla="*/ 48 w 48"/>
                  <a:gd name="T25" fmla="*/ 76 h 76"/>
                  <a:gd name="T26" fmla="*/ 0 w 48"/>
                  <a:gd name="T2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6">
                    <a:moveTo>
                      <a:pt x="0" y="76"/>
                    </a:moveTo>
                    <a:lnTo>
                      <a:pt x="0" y="76"/>
                    </a:lnTo>
                    <a:lnTo>
                      <a:pt x="0" y="0"/>
                    </a:lnTo>
                    <a:lnTo>
                      <a:pt x="47" y="0"/>
                    </a:lnTo>
                    <a:lnTo>
                      <a:pt x="47" y="10"/>
                    </a:lnTo>
                    <a:lnTo>
                      <a:pt x="12" y="10"/>
                    </a:lnTo>
                    <a:lnTo>
                      <a:pt x="12" y="32"/>
                    </a:lnTo>
                    <a:lnTo>
                      <a:pt x="41" y="32"/>
                    </a:lnTo>
                    <a:lnTo>
                      <a:pt x="41" y="42"/>
                    </a:lnTo>
                    <a:lnTo>
                      <a:pt x="12" y="42"/>
                    </a:lnTo>
                    <a:lnTo>
                      <a:pt x="12" y="66"/>
                    </a:lnTo>
                    <a:lnTo>
                      <a:pt x="48" y="66"/>
                    </a:lnTo>
                    <a:lnTo>
                      <a:pt x="48" y="76"/>
                    </a:lnTo>
                    <a:lnTo>
                      <a:pt x="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1" name="Freeform 15"/>
              <p:cNvSpPr>
                <a:spLocks/>
              </p:cNvSpPr>
              <p:nvPr/>
            </p:nvSpPr>
            <p:spPr bwMode="auto">
              <a:xfrm>
                <a:off x="4424363" y="712788"/>
                <a:ext cx="771525" cy="941388"/>
              </a:xfrm>
              <a:custGeom>
                <a:avLst/>
                <a:gdLst>
                  <a:gd name="T0" fmla="*/ 58 w 69"/>
                  <a:gd name="T1" fmla="*/ 77 h 77"/>
                  <a:gd name="T2" fmla="*/ 58 w 69"/>
                  <a:gd name="T3" fmla="*/ 77 h 77"/>
                  <a:gd name="T4" fmla="*/ 15 w 69"/>
                  <a:gd name="T5" fmla="*/ 22 h 77"/>
                  <a:gd name="T6" fmla="*/ 11 w 69"/>
                  <a:gd name="T7" fmla="*/ 15 h 77"/>
                  <a:gd name="T8" fmla="*/ 11 w 69"/>
                  <a:gd name="T9" fmla="*/ 76 h 77"/>
                  <a:gd name="T10" fmla="*/ 0 w 69"/>
                  <a:gd name="T11" fmla="*/ 76 h 77"/>
                  <a:gd name="T12" fmla="*/ 0 w 69"/>
                  <a:gd name="T13" fmla="*/ 0 h 77"/>
                  <a:gd name="T14" fmla="*/ 12 w 69"/>
                  <a:gd name="T15" fmla="*/ 0 h 77"/>
                  <a:gd name="T16" fmla="*/ 55 w 69"/>
                  <a:gd name="T17" fmla="*/ 54 h 77"/>
                  <a:gd name="T18" fmla="*/ 58 w 69"/>
                  <a:gd name="T19" fmla="*/ 61 h 77"/>
                  <a:gd name="T20" fmla="*/ 58 w 69"/>
                  <a:gd name="T21" fmla="*/ 0 h 77"/>
                  <a:gd name="T22" fmla="*/ 69 w 69"/>
                  <a:gd name="T23" fmla="*/ 0 h 77"/>
                  <a:gd name="T24" fmla="*/ 69 w 69"/>
                  <a:gd name="T25" fmla="*/ 77 h 77"/>
                  <a:gd name="T26" fmla="*/ 58 w 69"/>
                  <a:gd name="T2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77">
                    <a:moveTo>
                      <a:pt x="58" y="77"/>
                    </a:moveTo>
                    <a:lnTo>
                      <a:pt x="58" y="77"/>
                    </a:lnTo>
                    <a:lnTo>
                      <a:pt x="15" y="22"/>
                    </a:lnTo>
                    <a:cubicBezTo>
                      <a:pt x="12" y="19"/>
                      <a:pt x="12" y="17"/>
                      <a:pt x="11" y="15"/>
                    </a:cubicBezTo>
                    <a:lnTo>
                      <a:pt x="11" y="76"/>
                    </a:lnTo>
                    <a:lnTo>
                      <a:pt x="0" y="76"/>
                    </a:lnTo>
                    <a:lnTo>
                      <a:pt x="0" y="0"/>
                    </a:lnTo>
                    <a:lnTo>
                      <a:pt x="12" y="0"/>
                    </a:lnTo>
                    <a:lnTo>
                      <a:pt x="55" y="54"/>
                    </a:lnTo>
                    <a:cubicBezTo>
                      <a:pt x="56" y="56"/>
                      <a:pt x="58" y="59"/>
                      <a:pt x="58" y="61"/>
                    </a:cubicBezTo>
                    <a:lnTo>
                      <a:pt x="58" y="0"/>
                    </a:lnTo>
                    <a:lnTo>
                      <a:pt x="69" y="0"/>
                    </a:lnTo>
                    <a:lnTo>
                      <a:pt x="69" y="77"/>
                    </a:lnTo>
                    <a:lnTo>
                      <a:pt x="58"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2" name="Freeform 16"/>
              <p:cNvSpPr>
                <a:spLocks/>
              </p:cNvSpPr>
              <p:nvPr/>
            </p:nvSpPr>
            <p:spPr bwMode="auto">
              <a:xfrm>
                <a:off x="5464175" y="688975"/>
                <a:ext cx="614363" cy="977900"/>
              </a:xfrm>
              <a:custGeom>
                <a:avLst/>
                <a:gdLst>
                  <a:gd name="T0" fmla="*/ 50 w 55"/>
                  <a:gd name="T1" fmla="*/ 17 h 80"/>
                  <a:gd name="T2" fmla="*/ 50 w 55"/>
                  <a:gd name="T3" fmla="*/ 17 h 80"/>
                  <a:gd name="T4" fmla="*/ 41 w 55"/>
                  <a:gd name="T5" fmla="*/ 12 h 80"/>
                  <a:gd name="T6" fmla="*/ 30 w 55"/>
                  <a:gd name="T7" fmla="*/ 11 h 80"/>
                  <a:gd name="T8" fmla="*/ 14 w 55"/>
                  <a:gd name="T9" fmla="*/ 20 h 80"/>
                  <a:gd name="T10" fmla="*/ 15 w 55"/>
                  <a:gd name="T11" fmla="*/ 24 h 80"/>
                  <a:gd name="T12" fmla="*/ 35 w 55"/>
                  <a:gd name="T13" fmla="*/ 36 h 80"/>
                  <a:gd name="T14" fmla="*/ 54 w 55"/>
                  <a:gd name="T15" fmla="*/ 58 h 80"/>
                  <a:gd name="T16" fmla="*/ 26 w 55"/>
                  <a:gd name="T17" fmla="*/ 80 h 80"/>
                  <a:gd name="T18" fmla="*/ 10 w 55"/>
                  <a:gd name="T19" fmla="*/ 77 h 80"/>
                  <a:gd name="T20" fmla="*/ 0 w 55"/>
                  <a:gd name="T21" fmla="*/ 71 h 80"/>
                  <a:gd name="T22" fmla="*/ 5 w 55"/>
                  <a:gd name="T23" fmla="*/ 61 h 80"/>
                  <a:gd name="T24" fmla="*/ 15 w 55"/>
                  <a:gd name="T25" fmla="*/ 67 h 80"/>
                  <a:gd name="T26" fmla="*/ 28 w 55"/>
                  <a:gd name="T27" fmla="*/ 70 h 80"/>
                  <a:gd name="T28" fmla="*/ 42 w 55"/>
                  <a:gd name="T29" fmla="*/ 59 h 80"/>
                  <a:gd name="T30" fmla="*/ 33 w 55"/>
                  <a:gd name="T31" fmla="*/ 48 h 80"/>
                  <a:gd name="T32" fmla="*/ 19 w 55"/>
                  <a:gd name="T33" fmla="*/ 41 h 80"/>
                  <a:gd name="T34" fmla="*/ 2 w 55"/>
                  <a:gd name="T35" fmla="*/ 21 h 80"/>
                  <a:gd name="T36" fmla="*/ 30 w 55"/>
                  <a:gd name="T37" fmla="*/ 0 h 80"/>
                  <a:gd name="T38" fmla="*/ 44 w 55"/>
                  <a:gd name="T39" fmla="*/ 2 h 80"/>
                  <a:gd name="T40" fmla="*/ 55 w 55"/>
                  <a:gd name="T41" fmla="*/ 7 h 80"/>
                  <a:gd name="T42" fmla="*/ 50 w 55"/>
                  <a:gd name="T43"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0">
                    <a:moveTo>
                      <a:pt x="50" y="17"/>
                    </a:moveTo>
                    <a:lnTo>
                      <a:pt x="50" y="17"/>
                    </a:lnTo>
                    <a:cubicBezTo>
                      <a:pt x="46" y="14"/>
                      <a:pt x="45" y="13"/>
                      <a:pt x="41" y="12"/>
                    </a:cubicBezTo>
                    <a:cubicBezTo>
                      <a:pt x="37" y="11"/>
                      <a:pt x="33" y="11"/>
                      <a:pt x="30" y="11"/>
                    </a:cubicBezTo>
                    <a:cubicBezTo>
                      <a:pt x="20" y="11"/>
                      <a:pt x="14" y="14"/>
                      <a:pt x="14" y="20"/>
                    </a:cubicBezTo>
                    <a:cubicBezTo>
                      <a:pt x="14" y="22"/>
                      <a:pt x="15" y="23"/>
                      <a:pt x="15" y="24"/>
                    </a:cubicBezTo>
                    <a:cubicBezTo>
                      <a:pt x="17" y="28"/>
                      <a:pt x="20" y="29"/>
                      <a:pt x="35" y="36"/>
                    </a:cubicBezTo>
                    <a:cubicBezTo>
                      <a:pt x="49" y="43"/>
                      <a:pt x="54" y="48"/>
                      <a:pt x="54" y="58"/>
                    </a:cubicBezTo>
                    <a:cubicBezTo>
                      <a:pt x="54" y="71"/>
                      <a:pt x="43" y="80"/>
                      <a:pt x="26" y="80"/>
                    </a:cubicBezTo>
                    <a:cubicBezTo>
                      <a:pt x="20" y="80"/>
                      <a:pt x="15" y="79"/>
                      <a:pt x="10" y="77"/>
                    </a:cubicBezTo>
                    <a:cubicBezTo>
                      <a:pt x="7" y="76"/>
                      <a:pt x="5" y="75"/>
                      <a:pt x="0" y="71"/>
                    </a:cubicBezTo>
                    <a:lnTo>
                      <a:pt x="5" y="61"/>
                    </a:lnTo>
                    <a:cubicBezTo>
                      <a:pt x="10" y="65"/>
                      <a:pt x="12" y="66"/>
                      <a:pt x="15" y="67"/>
                    </a:cubicBezTo>
                    <a:cubicBezTo>
                      <a:pt x="19" y="69"/>
                      <a:pt x="23" y="70"/>
                      <a:pt x="28" y="70"/>
                    </a:cubicBezTo>
                    <a:cubicBezTo>
                      <a:pt x="37" y="70"/>
                      <a:pt x="42" y="66"/>
                      <a:pt x="42" y="59"/>
                    </a:cubicBezTo>
                    <a:cubicBezTo>
                      <a:pt x="42" y="54"/>
                      <a:pt x="39" y="51"/>
                      <a:pt x="33" y="48"/>
                    </a:cubicBezTo>
                    <a:lnTo>
                      <a:pt x="19" y="41"/>
                    </a:lnTo>
                    <a:cubicBezTo>
                      <a:pt x="8" y="36"/>
                      <a:pt x="2" y="29"/>
                      <a:pt x="2" y="21"/>
                    </a:cubicBezTo>
                    <a:cubicBezTo>
                      <a:pt x="2" y="9"/>
                      <a:pt x="13" y="0"/>
                      <a:pt x="30" y="0"/>
                    </a:cubicBezTo>
                    <a:cubicBezTo>
                      <a:pt x="35" y="0"/>
                      <a:pt x="40" y="1"/>
                      <a:pt x="44" y="2"/>
                    </a:cubicBezTo>
                    <a:cubicBezTo>
                      <a:pt x="48" y="3"/>
                      <a:pt x="50" y="4"/>
                      <a:pt x="55" y="7"/>
                    </a:cubicBezTo>
                    <a:lnTo>
                      <a:pt x="50"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9" name="Freeform: Shape 20"/>
            <p:cNvSpPr/>
            <p:nvPr userDrawn="1"/>
          </p:nvSpPr>
          <p:spPr>
            <a:xfrm>
              <a:off x="8962934" y="4185259"/>
              <a:ext cx="3229065" cy="999782"/>
            </a:xfrm>
            <a:custGeom>
              <a:avLst/>
              <a:gdLst>
                <a:gd name="connsiteX0" fmla="*/ 0 w 3229065"/>
                <a:gd name="connsiteY0" fmla="*/ 0 h 999782"/>
                <a:gd name="connsiteX1" fmla="*/ 227429 w 3229065"/>
                <a:gd name="connsiteY1" fmla="*/ 0 h 999782"/>
                <a:gd name="connsiteX2" fmla="*/ 3001636 w 3229065"/>
                <a:gd name="connsiteY2" fmla="*/ 0 h 999782"/>
                <a:gd name="connsiteX3" fmla="*/ 3229065 w 3229065"/>
                <a:gd name="connsiteY3" fmla="*/ 0 h 999782"/>
                <a:gd name="connsiteX4" fmla="*/ 3229065 w 3229065"/>
                <a:gd name="connsiteY4" fmla="*/ 999782 h 999782"/>
                <a:gd name="connsiteX5" fmla="*/ 3001636 w 3229065"/>
                <a:gd name="connsiteY5" fmla="*/ 999782 h 999782"/>
                <a:gd name="connsiteX6" fmla="*/ 861503 w 3229065"/>
                <a:gd name="connsiteY6" fmla="*/ 999782 h 999782"/>
                <a:gd name="connsiteX7" fmla="*/ 634074 w 3229065"/>
                <a:gd name="connsiteY7" fmla="*/ 999782 h 999782"/>
                <a:gd name="connsiteX8" fmla="*/ 305832 w 3229065"/>
                <a:gd name="connsiteY8" fmla="*/ 499562 h 999782"/>
                <a:gd name="connsiteX9" fmla="*/ 0 w 3229065"/>
                <a:gd name="connsiteY9" fmla="*/ 0 h 9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065" h="999782">
                  <a:moveTo>
                    <a:pt x="0" y="0"/>
                  </a:moveTo>
                  <a:lnTo>
                    <a:pt x="227429" y="0"/>
                  </a:lnTo>
                  <a:lnTo>
                    <a:pt x="3001636" y="0"/>
                  </a:lnTo>
                  <a:lnTo>
                    <a:pt x="3229065" y="0"/>
                  </a:lnTo>
                  <a:lnTo>
                    <a:pt x="3229065" y="999782"/>
                  </a:lnTo>
                  <a:lnTo>
                    <a:pt x="3001636" y="999782"/>
                  </a:lnTo>
                  <a:lnTo>
                    <a:pt x="861503" y="999782"/>
                  </a:lnTo>
                  <a:lnTo>
                    <a:pt x="634074" y="999782"/>
                  </a:lnTo>
                  <a:cubicBezTo>
                    <a:pt x="305832" y="999782"/>
                    <a:pt x="305832" y="779659"/>
                    <a:pt x="305832" y="499562"/>
                  </a:cubicBezTo>
                  <a:cubicBezTo>
                    <a:pt x="305832" y="175966"/>
                    <a:pt x="150938" y="37566"/>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tIns="0" rIns="0" bIns="0" rtlCol="0" anchor="ctr"/>
            <a:lstStyle/>
            <a:p>
              <a:endParaRPr lang="en-GB" sz="1200"/>
            </a:p>
          </p:txBody>
        </p:sp>
      </p:grpSp>
    </p:spTree>
    <p:extLst>
      <p:ext uri="{BB962C8B-B14F-4D97-AF65-F5344CB8AC3E}">
        <p14:creationId xmlns:p14="http://schemas.microsoft.com/office/powerpoint/2010/main" val="140166400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982663" y="1124744"/>
            <a:ext cx="4818063" cy="2041585"/>
          </a:xfr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a:t>Sixth level</a:t>
            </a:r>
            <a:r>
              <a:rPr lang="en-GB" noProof="0"/>
              <a:t> - Paragraph header</a:t>
            </a:r>
            <a:endParaRPr lang="en-GB"/>
          </a:p>
        </p:txBody>
      </p:sp>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9" name="Text Placeholder 7"/>
          <p:cNvSpPr>
            <a:spLocks noGrp="1"/>
          </p:cNvSpPr>
          <p:nvPr>
            <p:ph type="body" sz="quarter" idx="14" hasCustomPrompt="1"/>
          </p:nvPr>
        </p:nvSpPr>
        <p:spPr>
          <a:xfrm>
            <a:off x="6383142" y="1124744"/>
            <a:ext cx="4818063" cy="2041585"/>
          </a:xfr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a:t>Sixth level</a:t>
            </a:r>
            <a:r>
              <a:rPr lang="en-GB" noProof="0"/>
              <a:t> - Paragraph header</a:t>
            </a:r>
            <a:endParaRPr lang="en-GB"/>
          </a:p>
        </p:txBody>
      </p:sp>
    </p:spTree>
    <p:extLst>
      <p:ext uri="{BB962C8B-B14F-4D97-AF65-F5344CB8AC3E}">
        <p14:creationId xmlns:p14="http://schemas.microsoft.com/office/powerpoint/2010/main" val="5972632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982663" y="1123854"/>
            <a:ext cx="8208962" cy="1651734"/>
          </a:xfrm>
        </p:spPr>
        <p:txBody>
          <a:bodyPr>
            <a:spAutoFit/>
          </a:bodyPr>
          <a:lstStyle>
            <a:lvl1pPr marL="357188" indent="-357188">
              <a:buClr>
                <a:schemeClr val="accent2"/>
              </a:buClr>
              <a:buFont typeface="+mj-lt"/>
              <a:buAutoNum type="arabicPeriod"/>
              <a:tabLst>
                <a:tab pos="8158163" algn="r"/>
              </a:tabLst>
              <a:defRPr/>
            </a:lvl1pPr>
            <a:lvl2pPr marL="803275" indent="-357188">
              <a:buClr>
                <a:schemeClr val="accent2"/>
              </a:buClr>
              <a:buFont typeface="+mj-lt"/>
              <a:buAutoNum type="arabicPeriod"/>
              <a:tabLst>
                <a:tab pos="8158163" algn="r"/>
              </a:tabLst>
              <a:defRPr/>
            </a:lvl2pPr>
            <a:lvl3pPr marL="1255713" indent="-361950">
              <a:buClr>
                <a:schemeClr val="accent2"/>
              </a:buClr>
              <a:buFont typeface="+mj-lt"/>
              <a:buAutoNum type="arabicPeriod"/>
              <a:tabLst>
                <a:tab pos="8158163" algn="r"/>
              </a:tabLst>
              <a:defRPr sz="1800"/>
            </a:lvl3pPr>
            <a:lvl4pPr marL="1703388" indent="-342900">
              <a:buClr>
                <a:schemeClr val="accent2"/>
              </a:buClr>
              <a:buFont typeface="+mj-lt"/>
              <a:buAutoNum type="arabicPeriod"/>
              <a:tabLst>
                <a:tab pos="8158163" algn="r"/>
              </a:tabLst>
              <a:defRPr sz="1800"/>
            </a:lvl4pPr>
            <a:lvl5pPr marL="2152650" indent="-342900">
              <a:buClr>
                <a:schemeClr val="accent2"/>
              </a:buClr>
              <a:buFont typeface="+mj-lt"/>
              <a:buAutoNum type="arabicPeriod"/>
              <a:tabLst>
                <a:tab pos="8158163" algn="r"/>
              </a:tabLst>
              <a:defRPr sz="1800" b="0">
                <a:solidFill>
                  <a:schemeClr val="tx2"/>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Tree>
    <p:extLst>
      <p:ext uri="{BB962C8B-B14F-4D97-AF65-F5344CB8AC3E}">
        <p14:creationId xmlns:p14="http://schemas.microsoft.com/office/powerpoint/2010/main" val="4048732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Agenda – place title here</a:t>
            </a:r>
            <a:endParaRPr lang="en-GB" dirty="0"/>
          </a:p>
        </p:txBody>
      </p:sp>
      <p:sp>
        <p:nvSpPr>
          <p:cNvPr id="3" name="Rectangle 2">
            <a:extLst>
              <a:ext uri="{FF2B5EF4-FFF2-40B4-BE49-F238E27FC236}">
                <a16:creationId xmlns:a16="http://schemas.microsoft.com/office/drawing/2014/main" id="{6AC48321-2FA8-9AF6-DE58-91CC7E14F90C}"/>
              </a:ext>
            </a:extLst>
          </p:cNvPr>
          <p:cNvSpPr/>
          <p:nvPr/>
        </p:nvSpPr>
        <p:spPr>
          <a:xfrm>
            <a:off x="263525" y="765174"/>
            <a:ext cx="11664950" cy="5832475"/>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4" name="Text Placeholder 4">
            <a:extLst>
              <a:ext uri="{FF2B5EF4-FFF2-40B4-BE49-F238E27FC236}">
                <a16:creationId xmlns:a16="http://schemas.microsoft.com/office/drawing/2014/main" id="{2C7BB0DE-26CD-971E-9C2F-1BB876D13F23}"/>
              </a:ext>
            </a:extLst>
          </p:cNvPr>
          <p:cNvSpPr>
            <a:spLocks noGrp="1"/>
          </p:cNvSpPr>
          <p:nvPr>
            <p:ph type="body" sz="quarter" idx="10" hasCustomPrompt="1"/>
          </p:nvPr>
        </p:nvSpPr>
        <p:spPr>
          <a:xfrm>
            <a:off x="1019436" y="1452563"/>
            <a:ext cx="6912768" cy="2811026"/>
          </a:xfrm>
        </p:spPr>
        <p:txBody>
          <a:bodyPr/>
          <a:lstStyle>
            <a:lvl1pPr marL="442913" indent="-442913">
              <a:buFont typeface="+mj-lt"/>
              <a:buAutoNum type="arabicPeriod"/>
              <a:tabLst>
                <a:tab pos="6816725" algn="r"/>
              </a:tabLst>
              <a:defRPr>
                <a:solidFill>
                  <a:schemeClr val="bg1"/>
                </a:solidFill>
              </a:defRPr>
            </a:lvl1pPr>
            <a:lvl2pPr>
              <a:buClr>
                <a:schemeClr val="accent2">
                  <a:lumMod val="60000"/>
                  <a:lumOff val="40000"/>
                </a:schemeClr>
              </a:buClr>
              <a:tabLst>
                <a:tab pos="6816725" algn="r"/>
              </a:tabLst>
              <a:defRPr>
                <a:solidFill>
                  <a:schemeClr val="bg1"/>
                </a:solidFill>
              </a:defRPr>
            </a:lvl2pPr>
            <a:lvl3pPr>
              <a:buClr>
                <a:schemeClr val="accent2">
                  <a:lumMod val="60000"/>
                  <a:lumOff val="40000"/>
                </a:schemeClr>
              </a:buClr>
              <a:tabLst>
                <a:tab pos="6816725" algn="r"/>
              </a:tabLst>
              <a:defRPr>
                <a:solidFill>
                  <a:schemeClr val="bg1"/>
                </a:solidFill>
              </a:defRPr>
            </a:lvl3pPr>
            <a:lvl4pPr>
              <a:buClr>
                <a:schemeClr val="accent2">
                  <a:lumMod val="60000"/>
                  <a:lumOff val="40000"/>
                </a:schemeClr>
              </a:buClr>
              <a:tabLst>
                <a:tab pos="6816725" algn="r"/>
              </a:tabLst>
              <a:defRPr>
                <a:solidFill>
                  <a:schemeClr val="bg1"/>
                </a:solidFill>
              </a:defRPr>
            </a:lvl4pPr>
            <a:lvl5pPr>
              <a:tabLst>
                <a:tab pos="6816725" algn="r"/>
              </a:tabLst>
              <a:defRPr>
                <a:solidFill>
                  <a:schemeClr val="bg1"/>
                </a:solidFill>
              </a:defRPr>
            </a:lvl5pPr>
            <a:lvl6pPr>
              <a:tabLst>
                <a:tab pos="6816725" algn="r"/>
              </a:tabLst>
              <a:defRPr>
                <a:solidFill>
                  <a:schemeClr val="accent2">
                    <a:lumMod val="60000"/>
                    <a:lumOff val="40000"/>
                  </a:schemeClr>
                </a:solidFill>
              </a:defRPr>
            </a:lvl6pPr>
            <a:lvl7pPr marL="442913" indent="-442913">
              <a:buClr>
                <a:schemeClr val="accent2">
                  <a:lumMod val="60000"/>
                  <a:lumOff val="40000"/>
                </a:schemeClr>
              </a:buClr>
              <a:tabLst>
                <a:tab pos="6816725" algn="r"/>
              </a:tabLst>
              <a:defRPr>
                <a:solidFill>
                  <a:schemeClr val="bg1"/>
                </a:solidFill>
              </a:defRPr>
            </a:lvl7pPr>
            <a:lvl8pPr marL="720725" indent="-268288">
              <a:buClr>
                <a:schemeClr val="accent2">
                  <a:lumMod val="60000"/>
                  <a:lumOff val="40000"/>
                </a:schemeClr>
              </a:buClr>
              <a:tabLst>
                <a:tab pos="6816725" algn="r"/>
              </a:tabLst>
              <a:defRPr>
                <a:solidFill>
                  <a:schemeClr val="bg1"/>
                </a:solidFill>
              </a:defRPr>
            </a:lvl8pPr>
            <a:lvl9pPr>
              <a:tabLst>
                <a:tab pos="6816725"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Tree>
    <p:extLst>
      <p:ext uri="{BB962C8B-B14F-4D97-AF65-F5344CB8AC3E}">
        <p14:creationId xmlns:p14="http://schemas.microsoft.com/office/powerpoint/2010/main" val="4214516522"/>
      </p:ext>
    </p:extLst>
  </p:cSld>
  <p:clrMapOvr>
    <a:masterClrMapping/>
  </p:clrMapOvr>
  <p:extLst>
    <p:ext uri="{DCECCB84-F9BA-43D5-87BE-67443E8EF086}">
      <p15:sldGuideLst xmlns:p15="http://schemas.microsoft.com/office/powerpoint/2012/main">
        <p15:guide id="12" orient="horz" pos="3929">
          <p15:clr>
            <a:srgbClr val="FBAE40"/>
          </p15:clr>
        </p15:guide>
        <p15:guide id="13" orient="horz" pos="913">
          <p15:clr>
            <a:srgbClr val="FBAE40"/>
          </p15:clr>
        </p15:guide>
        <p15:guide id="14" pos="642">
          <p15:clr>
            <a:srgbClr val="FBAE40"/>
          </p15:clr>
        </p15:guide>
        <p15:guide id="15" pos="4997">
          <p15:clr>
            <a:srgbClr val="FBAE40"/>
          </p15:clr>
        </p15:guide>
        <p15:guide id="16" orient="horz" pos="187">
          <p15:clr>
            <a:srgbClr val="FBAE40"/>
          </p15:clr>
        </p15:guide>
        <p15:guide id="17" pos="16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umbered list with 2 column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7" name="Text Placeholder 6"/>
          <p:cNvSpPr>
            <a:spLocks noGrp="1"/>
          </p:cNvSpPr>
          <p:nvPr>
            <p:ph type="body" sz="quarter" idx="13"/>
          </p:nvPr>
        </p:nvSpPr>
        <p:spPr>
          <a:xfrm>
            <a:off x="982663" y="1124744"/>
            <a:ext cx="4826000" cy="1651734"/>
          </a:xfrm>
        </p:spPr>
        <p:txBody>
          <a:bodyPr wrap="square">
            <a:spAutoFit/>
          </a:bodyPr>
          <a:lstStyle>
            <a:lvl1pPr marL="357188" indent="-357188">
              <a:buClr>
                <a:schemeClr val="accent2"/>
              </a:buClr>
              <a:buFont typeface="+mj-lt"/>
              <a:buAutoNum type="arabicPeriod"/>
              <a:tabLst>
                <a:tab pos="4754563" algn="r"/>
              </a:tabLst>
              <a:defRPr/>
            </a:lvl1pPr>
            <a:lvl2pPr marL="803275" indent="-357188">
              <a:buClr>
                <a:schemeClr val="accent2"/>
              </a:buClr>
              <a:buFont typeface="+mj-lt"/>
              <a:buAutoNum type="arabicPeriod"/>
              <a:tabLst>
                <a:tab pos="4754563" algn="r"/>
              </a:tabLst>
              <a:defRPr/>
            </a:lvl2pPr>
            <a:lvl3pPr marL="1255713" indent="-361950">
              <a:buClr>
                <a:schemeClr val="accent2"/>
              </a:buClr>
              <a:buFont typeface="+mj-lt"/>
              <a:buAutoNum type="arabicPeriod"/>
              <a:tabLst>
                <a:tab pos="4754563" algn="r"/>
              </a:tabLst>
              <a:defRPr sz="1800"/>
            </a:lvl3pPr>
            <a:lvl4pPr marL="1703388" indent="-342900">
              <a:buClr>
                <a:schemeClr val="accent2"/>
              </a:buClr>
              <a:buFont typeface="+mj-lt"/>
              <a:buAutoNum type="arabicPeriod"/>
              <a:tabLst>
                <a:tab pos="4754563" algn="r"/>
              </a:tabLst>
              <a:defRPr sz="1800"/>
            </a:lvl4pPr>
            <a:lvl5pPr marL="2152650" indent="-342900">
              <a:buClr>
                <a:schemeClr val="accent2"/>
              </a:buClr>
              <a:buFont typeface="+mj-lt"/>
              <a:buAutoNum type="arabicPeriod"/>
              <a:tabLst>
                <a:tab pos="4754563" algn="r"/>
              </a:tabLst>
              <a:defRPr sz="1800" b="0">
                <a:solidFill>
                  <a:schemeClr val="tx2"/>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ext Placeholder 6"/>
          <p:cNvSpPr>
            <a:spLocks noGrp="1"/>
          </p:cNvSpPr>
          <p:nvPr>
            <p:ph type="body" sz="quarter" idx="14"/>
          </p:nvPr>
        </p:nvSpPr>
        <p:spPr>
          <a:xfrm>
            <a:off x="6383338" y="1124744"/>
            <a:ext cx="4826000" cy="1651734"/>
          </a:xfrm>
        </p:spPr>
        <p:txBody>
          <a:bodyPr wrap="square">
            <a:spAutoFit/>
          </a:bodyPr>
          <a:lstStyle>
            <a:lvl1pPr marL="357188" indent="-357188">
              <a:buClr>
                <a:schemeClr val="accent2"/>
              </a:buClr>
              <a:buFont typeface="+mj-lt"/>
              <a:buAutoNum type="arabicPeriod"/>
              <a:tabLst>
                <a:tab pos="4754563" algn="r"/>
              </a:tabLst>
              <a:defRPr/>
            </a:lvl1pPr>
            <a:lvl2pPr marL="803275" indent="-357188">
              <a:buClr>
                <a:schemeClr val="accent2"/>
              </a:buClr>
              <a:buFont typeface="+mj-lt"/>
              <a:buAutoNum type="arabicPeriod"/>
              <a:tabLst>
                <a:tab pos="4754563" algn="r"/>
              </a:tabLst>
              <a:defRPr/>
            </a:lvl2pPr>
            <a:lvl3pPr marL="1255713" indent="-361950">
              <a:buClr>
                <a:schemeClr val="accent2"/>
              </a:buClr>
              <a:buFont typeface="+mj-lt"/>
              <a:buAutoNum type="arabicPeriod"/>
              <a:tabLst>
                <a:tab pos="4754563" algn="r"/>
              </a:tabLst>
              <a:defRPr sz="1800"/>
            </a:lvl3pPr>
            <a:lvl4pPr marL="1703388" indent="-342900">
              <a:buClr>
                <a:schemeClr val="accent2"/>
              </a:buClr>
              <a:buFont typeface="+mj-lt"/>
              <a:buAutoNum type="arabicPeriod"/>
              <a:tabLst>
                <a:tab pos="4754563" algn="r"/>
              </a:tabLst>
              <a:defRPr sz="1800"/>
            </a:lvl4pPr>
            <a:lvl5pPr marL="2152650" indent="-342900">
              <a:buClr>
                <a:schemeClr val="accent2"/>
              </a:buClr>
              <a:buFont typeface="+mj-lt"/>
              <a:buAutoNum type="arabicPeriod"/>
              <a:tabLst>
                <a:tab pos="4754563" algn="r"/>
              </a:tabLst>
              <a:defRPr sz="1800" b="0">
                <a:solidFill>
                  <a:schemeClr val="tx2"/>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4595027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box righ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Picture Placeholder 7"/>
          <p:cNvSpPr>
            <a:spLocks noGrp="1"/>
          </p:cNvSpPr>
          <p:nvPr>
            <p:ph type="pic" sz="quarter" idx="13" hasCustomPrompt="1"/>
          </p:nvPr>
        </p:nvSpPr>
        <p:spPr>
          <a:xfrm>
            <a:off x="6383337" y="1125539"/>
            <a:ext cx="5508625" cy="5183186"/>
          </a:xfrm>
          <a:prstGeom prst="rect">
            <a:avLst/>
          </a:prstGeom>
          <a:solidFill>
            <a:schemeClr val="accent5"/>
          </a:solidFill>
        </p:spPr>
        <p:txBody>
          <a:bodyPr lIns="828000" tIns="180000" rIns="828000" bIns="0" anchor="t" anchorCtr="0">
            <a:noAutofit/>
          </a:bodyPr>
          <a:lstStyle>
            <a:lvl1pPr algn="ctr">
              <a:defRPr sz="1400" b="0" baseline="0">
                <a:solidFill>
                  <a:schemeClr val="bg1"/>
                </a:solidFill>
              </a:defRPr>
            </a:lvl1pPr>
          </a:lstStyle>
          <a:p>
            <a:r>
              <a:rPr lang="en-GB"/>
              <a:t>HOW TO INSERT PICTURE </a:t>
            </a:r>
            <a:br>
              <a:rPr lang="en-GB"/>
            </a:br>
            <a:r>
              <a:rPr lang="en-GB"/>
              <a:t>FROM SHAREPOINT OR COMPUTER?</a:t>
            </a:r>
            <a:br>
              <a:rPr lang="en-GB"/>
            </a:br>
            <a:br>
              <a:rPr lang="en-GB"/>
            </a:br>
            <a:r>
              <a:rPr lang="en-GB"/>
              <a:t> Select picture placeholder and go to Ribbon &gt; Loyens &amp; Loeff Tab &gt; Click ‘Insert picture’ button and select picture from SharePoint</a:t>
            </a:r>
            <a:br>
              <a:rPr lang="en-GB"/>
            </a:br>
            <a:br>
              <a:rPr lang="en-GB"/>
            </a:br>
            <a:r>
              <a:rPr lang="en-GB"/>
              <a:t>or click icon to place a picture from </a:t>
            </a:r>
            <a:br>
              <a:rPr lang="en-GB"/>
            </a:br>
            <a:r>
              <a:rPr lang="en-GB"/>
              <a:t>your computer</a:t>
            </a:r>
          </a:p>
        </p:txBody>
      </p:sp>
      <p:sp>
        <p:nvSpPr>
          <p:cNvPr id="7" name="Text Placeholder 6"/>
          <p:cNvSpPr>
            <a:spLocks noGrp="1"/>
          </p:cNvSpPr>
          <p:nvPr>
            <p:ph type="body" sz="quarter" idx="14" hasCustomPrompt="1"/>
          </p:nvPr>
        </p:nvSpPr>
        <p:spPr>
          <a:xfrm>
            <a:off x="982663" y="1124236"/>
            <a:ext cx="4826000" cy="2041585"/>
          </a:xfrm>
          <a:prstGeom prst="rect">
            <a:avLst/>
          </a:prstGeo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a:t>Sixth level</a:t>
            </a:r>
            <a:r>
              <a:rPr lang="en-GB" noProof="0"/>
              <a:t> - Paragraph header</a:t>
            </a:r>
            <a:endParaRPr lang="en-GB"/>
          </a:p>
        </p:txBody>
      </p:sp>
    </p:spTree>
    <p:extLst>
      <p:ext uri="{BB962C8B-B14F-4D97-AF65-F5344CB8AC3E}">
        <p14:creationId xmlns:p14="http://schemas.microsoft.com/office/powerpoint/2010/main" val="9798028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box left">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6383338" y="1124744"/>
            <a:ext cx="4826000" cy="2041585"/>
          </a:xfrm>
        </p:spPr>
        <p:txBody>
          <a:bodyPr>
            <a:spAutoFit/>
          </a:bodyPr>
          <a:lstStyle>
            <a:lvl5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5pPr>
            <a:lvl6pPr marL="0" marR="0"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marL="0" marR="0" lvl="5" indent="0" algn="l" defTabSz="914400" rtl="0" eaLnBrk="1" fontAlgn="auto" latinLnBrk="0" hangingPunct="1">
              <a:lnSpc>
                <a:spcPct val="100000"/>
              </a:lnSpc>
              <a:spcBef>
                <a:spcPts val="400"/>
              </a:spcBef>
              <a:spcAft>
                <a:spcPts val="0"/>
              </a:spcAft>
              <a:buClr>
                <a:schemeClr val="accent2"/>
              </a:buClr>
              <a:buSzTx/>
              <a:buFont typeface="Arial" panose="020B0604020202020204" pitchFamily="34" charset="0"/>
              <a:buNone/>
              <a:tabLst/>
              <a:defRPr/>
            </a:pPr>
            <a:r>
              <a:rPr lang="en-GB"/>
              <a:t>Sixth level</a:t>
            </a:r>
            <a:r>
              <a:rPr lang="en-GB" noProof="0"/>
              <a:t> - Paragraph header</a:t>
            </a:r>
            <a:endParaRPr lang="en-GB"/>
          </a:p>
        </p:txBody>
      </p:sp>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Picture Placeholder 7"/>
          <p:cNvSpPr>
            <a:spLocks noGrp="1"/>
          </p:cNvSpPr>
          <p:nvPr>
            <p:ph type="pic" sz="quarter" idx="13" hasCustomPrompt="1"/>
          </p:nvPr>
        </p:nvSpPr>
        <p:spPr>
          <a:xfrm>
            <a:off x="300038" y="1125539"/>
            <a:ext cx="5508625" cy="5183186"/>
          </a:xfrm>
          <a:prstGeom prst="rect">
            <a:avLst/>
          </a:prstGeom>
          <a:solidFill>
            <a:schemeClr val="accent5"/>
          </a:solidFill>
        </p:spPr>
        <p:txBody>
          <a:bodyPr lIns="828000" tIns="180000" rIns="828000" bIns="0" anchor="t" anchorCtr="0">
            <a:noAutofit/>
          </a:bodyPr>
          <a:lstStyle>
            <a:lvl1pPr algn="ctr">
              <a:defRPr sz="1400" b="0" baseline="0">
                <a:solidFill>
                  <a:schemeClr val="bg1"/>
                </a:solidFill>
              </a:defRPr>
            </a:lvl1pPr>
          </a:lstStyle>
          <a:p>
            <a:r>
              <a:rPr lang="en-GB"/>
              <a:t>HOW TO INSERT PICTURE </a:t>
            </a:r>
            <a:br>
              <a:rPr lang="en-GB"/>
            </a:br>
            <a:r>
              <a:rPr lang="en-GB"/>
              <a:t>FROM SHAREPOINT OR COMPUTER?</a:t>
            </a:r>
            <a:br>
              <a:rPr lang="en-GB"/>
            </a:br>
            <a:br>
              <a:rPr lang="en-GB"/>
            </a:br>
            <a:r>
              <a:rPr lang="en-GB"/>
              <a:t> Select picture placeholder and go to Ribbon &gt; Loyens &amp; Loeff Tab &gt; Click ‘Insert picture’ button and select picture from SharePoint</a:t>
            </a:r>
            <a:br>
              <a:rPr lang="en-GB"/>
            </a:br>
            <a:br>
              <a:rPr lang="en-GB"/>
            </a:br>
            <a:r>
              <a:rPr lang="en-GB"/>
              <a:t>or click icon to place a picture from </a:t>
            </a:r>
            <a:br>
              <a:rPr lang="en-GB"/>
            </a:br>
            <a:r>
              <a:rPr lang="en-GB"/>
              <a:t>your computer</a:t>
            </a:r>
          </a:p>
        </p:txBody>
      </p:sp>
    </p:spTree>
    <p:extLst>
      <p:ext uri="{BB962C8B-B14F-4D97-AF65-F5344CB8AC3E}">
        <p14:creationId xmlns:p14="http://schemas.microsoft.com/office/powerpoint/2010/main" val="154175745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V 1 person">
    <p:spTree>
      <p:nvGrpSpPr>
        <p:cNvPr id="1" name=""/>
        <p:cNvGrpSpPr/>
        <p:nvPr/>
      </p:nvGrpSpPr>
      <p:grpSpPr>
        <a:xfrm>
          <a:off x="0" y="0"/>
          <a:ext cx="0" cy="0"/>
          <a:chOff x="0" y="0"/>
          <a:chExt cx="0" cy="0"/>
        </a:xfrm>
      </p:grpSpPr>
      <p:sp>
        <p:nvSpPr>
          <p:cNvPr id="19" name="Tekstvak 33"/>
          <p:cNvSpPr txBox="1"/>
          <p:nvPr/>
        </p:nvSpPr>
        <p:spPr>
          <a:xfrm>
            <a:off x="300318" y="3376076"/>
            <a:ext cx="201617" cy="161583"/>
          </a:xfrm>
          <a:prstGeom prst="rect">
            <a:avLst/>
          </a:prstGeom>
          <a:noFill/>
        </p:spPr>
        <p:txBody>
          <a:bodyPr vert="horz" wrap="square" lIns="0" tIns="0" rIns="0" bIns="0" rtlCol="0">
            <a:spAutoFit/>
          </a:bodyPr>
          <a:lstStyle/>
          <a:p>
            <a:pPr>
              <a:lnSpc>
                <a:spcPct val="100000"/>
              </a:lnSpc>
              <a:spcBef>
                <a:spcPts val="0"/>
              </a:spcBef>
            </a:pPr>
            <a:r>
              <a:rPr lang="en-GB" sz="1050">
                <a:solidFill>
                  <a:schemeClr val="tx2"/>
                </a:solidFill>
                <a:latin typeface="+mn-lt"/>
              </a:rPr>
              <a:t>T:</a:t>
            </a:r>
          </a:p>
        </p:txBody>
      </p:sp>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
          <p:cNvSpPr>
            <a:spLocks noGrp="1"/>
          </p:cNvSpPr>
          <p:nvPr>
            <p:ph type="pic" sz="quarter" idx="13" hasCustomPrompt="1"/>
          </p:nvPr>
        </p:nvSpPr>
        <p:spPr>
          <a:xfrm>
            <a:off x="300039" y="1123159"/>
            <a:ext cx="2052000" cy="2052000"/>
          </a:xfrm>
          <a:prstGeom prst="rect">
            <a:avLst/>
          </a:prstGeom>
          <a:solidFill>
            <a:schemeClr val="accent5"/>
          </a:solidFill>
        </p:spPr>
        <p:txBody>
          <a:bodyPr lIns="72000" tIns="756000" rIns="72000" bIns="0" anchor="t" anchorCtr="0">
            <a:noAutofit/>
          </a:bodyPr>
          <a:lstStyle>
            <a:lvl1pPr algn="ctr">
              <a:defRPr sz="1400" b="0" baseline="0">
                <a:solidFill>
                  <a:schemeClr val="bg1"/>
                </a:solidFill>
              </a:defRPr>
            </a:lvl1pPr>
          </a:lstStyle>
          <a:p>
            <a:r>
              <a:rPr lang="en-GB"/>
              <a:t>HOW TO ADD</a:t>
            </a:r>
            <a:br>
              <a:rPr lang="en-GB"/>
            </a:br>
            <a:r>
              <a:rPr lang="en-GB"/>
              <a:t>CV TEXT &amp; PHOTO?</a:t>
            </a:r>
            <a:br>
              <a:rPr lang="en-GB"/>
            </a:br>
            <a:br>
              <a:rPr lang="en-GB"/>
            </a:br>
            <a:br>
              <a:rPr lang="en-GB"/>
            </a:br>
            <a:br>
              <a:rPr lang="en-GB"/>
            </a:br>
            <a:br>
              <a:rPr lang="en-GB"/>
            </a:br>
            <a:r>
              <a:rPr lang="en-GB"/>
              <a:t>Select picture placeholder and go to Ribbon &gt; Loyens &amp; Loeff Tab &gt; Insert CV data button</a:t>
            </a:r>
          </a:p>
        </p:txBody>
      </p:sp>
      <p:sp>
        <p:nvSpPr>
          <p:cNvPr id="9" name="CVTitleRight"/>
          <p:cNvSpPr>
            <a:spLocks noGrp="1"/>
          </p:cNvSpPr>
          <p:nvPr>
            <p:ph type="body" sz="quarter" idx="14" hasCustomPrompt="1"/>
          </p:nvPr>
        </p:nvSpPr>
        <p:spPr>
          <a:xfrm>
            <a:off x="2962218" y="1641645"/>
            <a:ext cx="8640000" cy="221599"/>
          </a:xfrm>
          <a:prstGeom prst="rect">
            <a:avLst/>
          </a:prstGeom>
        </p:spPr>
        <p:txBody>
          <a:bodyPr vert="horz" wrap="none" lIns="0" tIns="0" rIns="0" bIns="0">
            <a:noAutofit/>
          </a:bodyPr>
          <a:lstStyle>
            <a:lvl1pPr marL="0" indent="0">
              <a:buNone/>
              <a:defRPr sz="1400" b="1" baseline="0">
                <a:solidFill>
                  <a:schemeClr val="accent2"/>
                </a:solidFill>
                <a:latin typeface="Arial" pitchFamily="34" charset="0"/>
                <a:cs typeface="Arial" pitchFamily="34" charset="0"/>
              </a:defRPr>
            </a:lvl1pPr>
          </a:lstStyle>
          <a:p>
            <a:pPr lvl="0"/>
            <a:r>
              <a:rPr lang="en-GB" noProof="0"/>
              <a:t>Title (1 row max)</a:t>
            </a:r>
          </a:p>
        </p:txBody>
      </p:sp>
      <p:sp>
        <p:nvSpPr>
          <p:cNvPr id="10" name="CVDescriptionRight"/>
          <p:cNvSpPr>
            <a:spLocks noGrp="1"/>
          </p:cNvSpPr>
          <p:nvPr>
            <p:ph type="body" sz="quarter" idx="15" hasCustomPrompt="1"/>
          </p:nvPr>
        </p:nvSpPr>
        <p:spPr>
          <a:xfrm>
            <a:off x="2963650" y="2270589"/>
            <a:ext cx="8640000" cy="4038136"/>
          </a:xfrm>
          <a:prstGeom prst="rect">
            <a:avLst/>
          </a:prstGeom>
        </p:spPr>
        <p:txBody>
          <a:bodyPr vert="horz" wrap="square" lIns="0" tIns="0" rIns="0" bIns="0" numCol="2" spcCol="288000">
            <a:noAutofit/>
          </a:bodyPr>
          <a:lstStyle>
            <a:lvl1pPr marL="0" indent="0">
              <a:buNone/>
              <a:defRPr sz="1200" b="0" baseline="0">
                <a:solidFill>
                  <a:schemeClr val="tx2"/>
                </a:solidFill>
                <a:latin typeface="Arial" pitchFamily="34" charset="0"/>
                <a:cs typeface="Arial" pitchFamily="34" charset="0"/>
              </a:defRPr>
            </a:lvl1pPr>
            <a:lvl2pPr>
              <a:defRPr sz="1200"/>
            </a:lvl2pPr>
            <a:lvl3pPr>
              <a:defRPr sz="1200"/>
            </a:lvl3pPr>
            <a:lvl4pPr>
              <a:defRPr sz="1200"/>
            </a:lvl4pPr>
            <a:lvl5pPr>
              <a:defRPr sz="1200">
                <a:solidFill>
                  <a:schemeClr val="bg2"/>
                </a:solidFill>
              </a:defRPr>
            </a:lvl5pPr>
            <a:lvl6pPr>
              <a:defRPr sz="1200"/>
            </a:lvl6pPr>
            <a:lvl7pPr>
              <a:defRPr sz="1200"/>
            </a:lvl7pPr>
            <a:lvl8pPr>
              <a:defRPr sz="1200"/>
            </a:lvl8pPr>
            <a:lvl9pPr>
              <a:defRPr sz="1200"/>
            </a:lvl9pPr>
          </a:lstStyle>
          <a:p>
            <a:pPr lvl="0"/>
            <a:r>
              <a:rPr lang="en-GB" noProof="0"/>
              <a:t>Click here to add a job description</a:t>
            </a:r>
          </a:p>
          <a:p>
            <a:pPr lvl="1"/>
            <a:r>
              <a:rPr lang="en-GB" noProof="0"/>
              <a:t>2</a:t>
            </a:r>
          </a:p>
          <a:p>
            <a:pPr lvl="2"/>
            <a:r>
              <a:rPr lang="en-GB" noProof="0"/>
              <a:t>3</a:t>
            </a:r>
          </a:p>
          <a:p>
            <a:pPr lvl="3"/>
            <a:r>
              <a:rPr lang="en-GB" noProof="0"/>
              <a:t>4</a:t>
            </a:r>
          </a:p>
          <a:p>
            <a:pPr lvl="4"/>
            <a:r>
              <a:rPr lang="en-GB" noProof="0"/>
              <a:t>5</a:t>
            </a:r>
          </a:p>
          <a:p>
            <a:pPr lvl="5"/>
            <a:r>
              <a:rPr lang="en-GB" noProof="0"/>
              <a:t>6</a:t>
            </a:r>
          </a:p>
          <a:p>
            <a:pPr lvl="6"/>
            <a:r>
              <a:rPr lang="en-GB" noProof="0"/>
              <a:t>7</a:t>
            </a:r>
          </a:p>
          <a:p>
            <a:pPr lvl="7"/>
            <a:r>
              <a:rPr lang="en-GB" noProof="0"/>
              <a:t>8</a:t>
            </a:r>
          </a:p>
          <a:p>
            <a:pPr lvl="8"/>
            <a:r>
              <a:rPr lang="en-GB" noProof="0"/>
              <a:t>9</a:t>
            </a:r>
          </a:p>
        </p:txBody>
      </p:sp>
      <p:cxnSp>
        <p:nvCxnSpPr>
          <p:cNvPr id="11" name="Rechte verbindingslijn 15"/>
          <p:cNvCxnSpPr>
            <a:cxnSpLocks/>
          </p:cNvCxnSpPr>
          <p:nvPr/>
        </p:nvCxnSpPr>
        <p:spPr>
          <a:xfrm>
            <a:off x="2962800" y="1548000"/>
            <a:ext cx="8640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VTelephoneRight"/>
          <p:cNvSpPr>
            <a:spLocks noGrp="1"/>
          </p:cNvSpPr>
          <p:nvPr>
            <p:ph type="body" sz="quarter" idx="17" hasCustomPrompt="1"/>
          </p:nvPr>
        </p:nvSpPr>
        <p:spPr>
          <a:xfrm>
            <a:off x="504000" y="3376076"/>
            <a:ext cx="2304000" cy="161583"/>
          </a:xfrm>
          <a:prstGeom prst="rect">
            <a:avLst/>
          </a:prstGeom>
        </p:spPr>
        <p:txBody>
          <a:bodyPr vert="horz" wrap="square" lIns="0" tIns="0" rIns="0" bIns="0">
            <a:spAutoFit/>
          </a:bodyPr>
          <a:lstStyle>
            <a:lvl1pPr marL="0" indent="0">
              <a:lnSpc>
                <a:spcPct val="100000"/>
              </a:lnSpc>
              <a:spcBef>
                <a:spcPts val="0"/>
              </a:spcBef>
              <a:buNone/>
              <a:defRPr sz="1050" b="0">
                <a:solidFill>
                  <a:schemeClr val="bg2"/>
                </a:solidFill>
                <a:latin typeface="+mn-lt"/>
                <a:cs typeface="Arial" pitchFamily="34" charset="0"/>
              </a:defRPr>
            </a:lvl1pPr>
          </a:lstStyle>
          <a:p>
            <a:pPr lvl="0"/>
            <a:r>
              <a:rPr lang="en-GB" noProof="0"/>
              <a:t>Phone number</a:t>
            </a:r>
          </a:p>
        </p:txBody>
      </p:sp>
      <p:sp>
        <p:nvSpPr>
          <p:cNvPr id="13" name="CVEmailRight"/>
          <p:cNvSpPr>
            <a:spLocks noGrp="1"/>
          </p:cNvSpPr>
          <p:nvPr>
            <p:ph type="body" sz="quarter" idx="19" hasCustomPrompt="1"/>
          </p:nvPr>
        </p:nvSpPr>
        <p:spPr>
          <a:xfrm>
            <a:off x="504000" y="3888901"/>
            <a:ext cx="2304000" cy="161583"/>
          </a:xfrm>
          <a:prstGeom prst="rect">
            <a:avLst/>
          </a:prstGeom>
        </p:spPr>
        <p:txBody>
          <a:bodyPr vert="horz" wrap="square" lIns="0" tIns="0" rIns="0" bIns="0">
            <a:spAutoFit/>
          </a:bodyPr>
          <a:lstStyle>
            <a:lvl1pPr marL="0" indent="0">
              <a:lnSpc>
                <a:spcPct val="100000"/>
              </a:lnSpc>
              <a:spcBef>
                <a:spcPts val="0"/>
              </a:spcBef>
              <a:buNone/>
              <a:defRPr sz="1050" b="0">
                <a:solidFill>
                  <a:schemeClr val="bg2"/>
                </a:solidFill>
                <a:latin typeface="+mn-lt"/>
                <a:cs typeface="Arial" pitchFamily="34" charset="0"/>
              </a:defRPr>
            </a:lvl1pPr>
          </a:lstStyle>
          <a:p>
            <a:pPr lvl="0"/>
            <a:r>
              <a:rPr lang="en-GB" noProof="0"/>
              <a:t>Email address</a:t>
            </a:r>
          </a:p>
        </p:txBody>
      </p:sp>
      <p:sp>
        <p:nvSpPr>
          <p:cNvPr id="16" name="CVSubTitleRight"/>
          <p:cNvSpPr>
            <a:spLocks noGrp="1"/>
          </p:cNvSpPr>
          <p:nvPr>
            <p:ph type="body" sz="quarter" idx="23" hasCustomPrompt="1"/>
          </p:nvPr>
        </p:nvSpPr>
        <p:spPr>
          <a:xfrm>
            <a:off x="2963651" y="1860669"/>
            <a:ext cx="8640000" cy="221599"/>
          </a:xfrm>
          <a:prstGeom prst="rect">
            <a:avLst/>
          </a:prstGeom>
        </p:spPr>
        <p:txBody>
          <a:bodyPr vert="horz" wrap="none" lIns="0" tIns="0" rIns="0" bIns="0">
            <a:noAutofit/>
          </a:bodyPr>
          <a:lstStyle>
            <a:lvl1pPr marL="0" indent="0">
              <a:buNone/>
              <a:defRPr sz="1400" b="0">
                <a:solidFill>
                  <a:schemeClr val="accent2"/>
                </a:solidFill>
                <a:latin typeface="Arial" pitchFamily="34" charset="0"/>
                <a:cs typeface="Arial" pitchFamily="34" charset="0"/>
              </a:defRPr>
            </a:lvl1pPr>
          </a:lstStyle>
          <a:p>
            <a:pPr lvl="0"/>
            <a:r>
              <a:rPr lang="en-GB" noProof="0"/>
              <a:t>Subtitle – optional (1 row max)</a:t>
            </a:r>
          </a:p>
        </p:txBody>
      </p:sp>
      <p:sp>
        <p:nvSpPr>
          <p:cNvPr id="22" name="CVNameRight"/>
          <p:cNvSpPr>
            <a:spLocks noGrp="1"/>
          </p:cNvSpPr>
          <p:nvPr>
            <p:ph type="body" sz="quarter" idx="27" hasCustomPrompt="1"/>
          </p:nvPr>
        </p:nvSpPr>
        <p:spPr>
          <a:xfrm>
            <a:off x="2963651" y="1123200"/>
            <a:ext cx="8640000" cy="338554"/>
          </a:xfrm>
          <a:prstGeom prst="rect">
            <a:avLst/>
          </a:prstGeom>
        </p:spPr>
        <p:txBody>
          <a:bodyPr vert="horz" wrap="none" lIns="0" tIns="0" rIns="0" bIns="0">
            <a:normAutofit/>
          </a:bodyPr>
          <a:lstStyle>
            <a:lvl1pPr marL="0" indent="0">
              <a:spcBef>
                <a:spcPts val="0"/>
              </a:spcBef>
              <a:buNone/>
              <a:defRPr sz="2200" b="1" baseline="0">
                <a:solidFill>
                  <a:schemeClr val="bg2"/>
                </a:solidFill>
                <a:latin typeface="Arial" pitchFamily="34" charset="0"/>
                <a:cs typeface="Arial" pitchFamily="34" charset="0"/>
              </a:defRPr>
            </a:lvl1pPr>
          </a:lstStyle>
          <a:p>
            <a:pPr lvl="0"/>
            <a:r>
              <a:rPr lang="en-GB" noProof="0"/>
              <a:t>Name</a:t>
            </a:r>
          </a:p>
        </p:txBody>
      </p:sp>
      <p:sp>
        <p:nvSpPr>
          <p:cNvPr id="24" name="CVMobileRight"/>
          <p:cNvSpPr>
            <a:spLocks noGrp="1"/>
          </p:cNvSpPr>
          <p:nvPr>
            <p:ph type="body" sz="quarter" idx="28" hasCustomPrompt="1"/>
          </p:nvPr>
        </p:nvSpPr>
        <p:spPr>
          <a:xfrm>
            <a:off x="504000" y="3632489"/>
            <a:ext cx="2304000" cy="161583"/>
          </a:xfrm>
          <a:prstGeom prst="rect">
            <a:avLst/>
          </a:prstGeom>
        </p:spPr>
        <p:txBody>
          <a:bodyPr vert="horz" wrap="square" lIns="0" tIns="0" rIns="0" bIns="0">
            <a:spAutoFit/>
          </a:bodyPr>
          <a:lstStyle>
            <a:lvl1pPr marL="0" indent="0">
              <a:lnSpc>
                <a:spcPct val="100000"/>
              </a:lnSpc>
              <a:spcBef>
                <a:spcPts val="0"/>
              </a:spcBef>
              <a:buNone/>
              <a:defRPr sz="1050" b="0">
                <a:solidFill>
                  <a:schemeClr val="bg2"/>
                </a:solidFill>
                <a:latin typeface="+mn-lt"/>
                <a:cs typeface="Arial" pitchFamily="34" charset="0"/>
              </a:defRPr>
            </a:lvl1pPr>
          </a:lstStyle>
          <a:p>
            <a:pPr lvl="0"/>
            <a:r>
              <a:rPr lang="en-GB" noProof="0"/>
              <a:t>Mobile phone number</a:t>
            </a:r>
          </a:p>
        </p:txBody>
      </p:sp>
      <p:sp>
        <p:nvSpPr>
          <p:cNvPr id="25" name="Tekstvak 35"/>
          <p:cNvSpPr txBox="1"/>
          <p:nvPr userDrawn="1"/>
        </p:nvSpPr>
        <p:spPr>
          <a:xfrm>
            <a:off x="300318" y="3888901"/>
            <a:ext cx="201617" cy="161583"/>
          </a:xfrm>
          <a:prstGeom prst="rect">
            <a:avLst/>
          </a:prstGeom>
          <a:noFill/>
        </p:spPr>
        <p:txBody>
          <a:bodyPr vert="horz" wrap="square" lIns="0" tIns="0" rIns="0" bIns="0" rtlCol="0">
            <a:spAutoFit/>
          </a:bodyPr>
          <a:lstStyle/>
          <a:p>
            <a:pPr>
              <a:lnSpc>
                <a:spcPct val="100000"/>
              </a:lnSpc>
              <a:spcBef>
                <a:spcPts val="0"/>
              </a:spcBef>
            </a:pPr>
            <a:r>
              <a:rPr lang="en-GB" sz="1050">
                <a:solidFill>
                  <a:schemeClr val="tx2"/>
                </a:solidFill>
                <a:latin typeface="+mn-lt"/>
              </a:rPr>
              <a:t>E:</a:t>
            </a:r>
          </a:p>
        </p:txBody>
      </p:sp>
      <p:sp>
        <p:nvSpPr>
          <p:cNvPr id="29" name="Tekstvak 34"/>
          <p:cNvSpPr txBox="1"/>
          <p:nvPr userDrawn="1"/>
        </p:nvSpPr>
        <p:spPr>
          <a:xfrm>
            <a:off x="300318" y="3632489"/>
            <a:ext cx="201617" cy="161583"/>
          </a:xfrm>
          <a:prstGeom prst="rect">
            <a:avLst/>
          </a:prstGeom>
          <a:noFill/>
        </p:spPr>
        <p:txBody>
          <a:bodyPr vert="horz" wrap="square" lIns="0" tIns="0" rIns="0" bIns="0" rtlCol="0">
            <a:spAutoFit/>
          </a:bodyPr>
          <a:lstStyle/>
          <a:p>
            <a:pPr>
              <a:lnSpc>
                <a:spcPct val="100000"/>
              </a:lnSpc>
              <a:spcBef>
                <a:spcPts val="0"/>
              </a:spcBef>
            </a:pPr>
            <a:r>
              <a:rPr lang="en-GB" sz="1050">
                <a:solidFill>
                  <a:schemeClr val="tx2"/>
                </a:solidFill>
                <a:latin typeface="+mn-lt"/>
              </a:rPr>
              <a:t>M:</a:t>
            </a:r>
          </a:p>
        </p:txBody>
      </p:sp>
      <p:cxnSp>
        <p:nvCxnSpPr>
          <p:cNvPr id="26" name="Rechte verbindingslijn 15">
            <a:extLst>
              <a:ext uri="{FF2B5EF4-FFF2-40B4-BE49-F238E27FC236}">
                <a16:creationId xmlns:a16="http://schemas.microsoft.com/office/drawing/2014/main" id="{D6572129-0779-486A-A96C-F5028C31765A}"/>
              </a:ext>
            </a:extLst>
          </p:cNvPr>
          <p:cNvCxnSpPr>
            <a:cxnSpLocks/>
          </p:cNvCxnSpPr>
          <p:nvPr userDrawn="1"/>
        </p:nvCxnSpPr>
        <p:spPr>
          <a:xfrm>
            <a:off x="2962800" y="2143851"/>
            <a:ext cx="8640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907202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V 2 per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_1"/>
          <p:cNvSpPr>
            <a:spLocks noGrp="1"/>
          </p:cNvSpPr>
          <p:nvPr>
            <p:ph type="pic" sz="quarter" idx="13" hasCustomPrompt="1"/>
          </p:nvPr>
        </p:nvSpPr>
        <p:spPr>
          <a:xfrm>
            <a:off x="30003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9" name="CVTitleRight_1"/>
          <p:cNvSpPr>
            <a:spLocks noGrp="1"/>
          </p:cNvSpPr>
          <p:nvPr>
            <p:ph type="body" sz="quarter" idx="14" hasCustomPrompt="1"/>
          </p:nvPr>
        </p:nvSpPr>
        <p:spPr>
          <a:xfrm>
            <a:off x="1667508" y="1628800"/>
            <a:ext cx="4141155"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a:t>Title (1 row max)</a:t>
            </a:r>
          </a:p>
        </p:txBody>
      </p:sp>
      <p:sp>
        <p:nvSpPr>
          <p:cNvPr id="10" name="CVDescriptionRight_1"/>
          <p:cNvSpPr>
            <a:spLocks noGrp="1"/>
          </p:cNvSpPr>
          <p:nvPr>
            <p:ph type="body" sz="quarter" idx="15" hasCustomPrompt="1"/>
          </p:nvPr>
        </p:nvSpPr>
        <p:spPr>
          <a:xfrm>
            <a:off x="1667508" y="2240867"/>
            <a:ext cx="4141155" cy="2527317"/>
          </a:xfrm>
          <a:prstGeom prst="rect">
            <a:avLst/>
          </a:prstGeom>
        </p:spPr>
        <p:txBody>
          <a:bodyPr vert="horz" wrap="square" lIns="0" tIns="0" rIns="0" bIns="0">
            <a:noAutofit/>
          </a:bodyPr>
          <a:lstStyle>
            <a:lvl1pPr marL="0" indent="0">
              <a:buNone/>
              <a:defRPr sz="1100" b="0" baseline="0">
                <a:solidFill>
                  <a:schemeClr val="tx2"/>
                </a:solidFill>
                <a:latin typeface="Arial" pitchFamily="34" charset="0"/>
                <a:cs typeface="Arial" pitchFamily="34" charset="0"/>
              </a:defRPr>
            </a:lvl1pPr>
          </a:lstStyle>
          <a:p>
            <a:pPr lvl="0"/>
            <a:r>
              <a:rPr lang="en-GB" noProof="0"/>
              <a:t>Click here to add a job description (15 rows max)</a:t>
            </a:r>
          </a:p>
        </p:txBody>
      </p:sp>
      <p:sp>
        <p:nvSpPr>
          <p:cNvPr id="12" name="CVTelephoneRight_1"/>
          <p:cNvSpPr>
            <a:spLocks noGrp="1"/>
          </p:cNvSpPr>
          <p:nvPr>
            <p:ph type="body" sz="quarter" idx="17" hasCustomPrompt="1"/>
          </p:nvPr>
        </p:nvSpPr>
        <p:spPr>
          <a:xfrm>
            <a:off x="1667508" y="5551832"/>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Phone number</a:t>
            </a:r>
          </a:p>
        </p:txBody>
      </p:sp>
      <p:sp>
        <p:nvSpPr>
          <p:cNvPr id="13" name="CVEmailRight_1"/>
          <p:cNvSpPr>
            <a:spLocks noGrp="1"/>
          </p:cNvSpPr>
          <p:nvPr>
            <p:ph type="body" sz="quarter" idx="19" hasCustomPrompt="1"/>
          </p:nvPr>
        </p:nvSpPr>
        <p:spPr>
          <a:xfrm>
            <a:off x="1667508" y="6064657"/>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Email address</a:t>
            </a:r>
          </a:p>
        </p:txBody>
      </p:sp>
      <p:sp>
        <p:nvSpPr>
          <p:cNvPr id="16" name="CVSubTitleRight_1"/>
          <p:cNvSpPr>
            <a:spLocks noGrp="1"/>
          </p:cNvSpPr>
          <p:nvPr>
            <p:ph type="body" sz="quarter" idx="23" hasCustomPrompt="1"/>
          </p:nvPr>
        </p:nvSpPr>
        <p:spPr>
          <a:xfrm>
            <a:off x="1667508" y="1879738"/>
            <a:ext cx="4141155"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a:t>Subtitle – optional (1 row max)</a:t>
            </a:r>
          </a:p>
        </p:txBody>
      </p:sp>
      <p:sp>
        <p:nvSpPr>
          <p:cNvPr id="17" name="CVLanguagesRight_1"/>
          <p:cNvSpPr>
            <a:spLocks noGrp="1"/>
          </p:cNvSpPr>
          <p:nvPr>
            <p:ph type="body" sz="quarter" idx="25" hasCustomPrompt="1"/>
          </p:nvPr>
        </p:nvSpPr>
        <p:spPr>
          <a:xfrm>
            <a:off x="1667508" y="4946801"/>
            <a:ext cx="4141155" cy="169277"/>
          </a:xfrm>
          <a:prstGeom prst="rect">
            <a:avLst/>
          </a:prstGeom>
        </p:spPr>
        <p:txBody>
          <a:bodyPr vert="horz" wrap="square" lIns="0" tIns="0" rIns="0" bIns="0">
            <a:spAutoFit/>
          </a:bodyPr>
          <a:lstStyle>
            <a:lvl1pPr marL="0" indent="0">
              <a:buNone/>
              <a:defRPr sz="1100" b="0">
                <a:solidFill>
                  <a:schemeClr val="accent4"/>
                </a:solidFill>
                <a:latin typeface="Arial" pitchFamily="34" charset="0"/>
                <a:cs typeface="Arial" pitchFamily="34" charset="0"/>
              </a:defRPr>
            </a:lvl1pPr>
          </a:lstStyle>
          <a:p>
            <a:pPr lvl="0"/>
            <a:r>
              <a:rPr lang="en-GB" noProof="0"/>
              <a:t>Add languages of proficiency – optional (1 row max)</a:t>
            </a:r>
          </a:p>
        </p:txBody>
      </p:sp>
      <p:sp>
        <p:nvSpPr>
          <p:cNvPr id="18" name="CVEducationRight_1"/>
          <p:cNvSpPr>
            <a:spLocks noGrp="1"/>
          </p:cNvSpPr>
          <p:nvPr>
            <p:ph type="body" sz="quarter" idx="26" hasCustomPrompt="1"/>
          </p:nvPr>
        </p:nvSpPr>
        <p:spPr>
          <a:xfrm>
            <a:off x="1667508" y="5203939"/>
            <a:ext cx="4141155" cy="169277"/>
          </a:xfrm>
          <a:prstGeom prst="rect">
            <a:avLst/>
          </a:prstGeom>
        </p:spPr>
        <p:txBody>
          <a:bodyPr vert="horz" wrap="square" lIns="0" tIns="0" rIns="0" bIns="0">
            <a:spAutoFit/>
          </a:bodyPr>
          <a:lstStyle>
            <a:lvl1pPr marL="0" indent="0">
              <a:buNone/>
              <a:defRPr sz="1100" b="0" baseline="0">
                <a:solidFill>
                  <a:schemeClr val="accent4"/>
                </a:solidFill>
                <a:latin typeface="Arial" pitchFamily="34" charset="0"/>
                <a:cs typeface="Arial" pitchFamily="34" charset="0"/>
              </a:defRPr>
            </a:lvl1pPr>
          </a:lstStyle>
          <a:p>
            <a:pPr lvl="0"/>
            <a:r>
              <a:rPr lang="en-GB" noProof="0"/>
              <a:t>Add education – optional (2 rows max)</a:t>
            </a:r>
          </a:p>
        </p:txBody>
      </p:sp>
      <p:sp>
        <p:nvSpPr>
          <p:cNvPr id="22" name="CVNameRight_1"/>
          <p:cNvSpPr>
            <a:spLocks noGrp="1"/>
          </p:cNvSpPr>
          <p:nvPr>
            <p:ph type="body" sz="quarter" idx="27" hasCustomPrompt="1"/>
          </p:nvPr>
        </p:nvSpPr>
        <p:spPr>
          <a:xfrm>
            <a:off x="1667508" y="1125538"/>
            <a:ext cx="4141155" cy="246221"/>
          </a:xfrm>
          <a:prstGeom prst="rect">
            <a:avLst/>
          </a:prstGeom>
        </p:spPr>
        <p:txBody>
          <a:bodyPr vert="horz" wrap="square" lIns="0" tIns="0" rIns="0" bIns="0">
            <a:spAutoFit/>
          </a:bodyPr>
          <a:lstStyle>
            <a:lvl1pPr marL="0" indent="0">
              <a:buNone/>
              <a:defRPr sz="1600" b="1" baseline="0">
                <a:solidFill>
                  <a:schemeClr val="bg2"/>
                </a:solidFill>
                <a:latin typeface="Arial" pitchFamily="34" charset="0"/>
                <a:cs typeface="Arial" pitchFamily="34" charset="0"/>
              </a:defRPr>
            </a:lvl1pPr>
          </a:lstStyle>
          <a:p>
            <a:pPr lvl="0"/>
            <a:r>
              <a:rPr lang="en-GB" noProof="0"/>
              <a:t>Name</a:t>
            </a:r>
          </a:p>
        </p:txBody>
      </p:sp>
      <p:sp>
        <p:nvSpPr>
          <p:cNvPr id="24" name="CVMobileRight_1"/>
          <p:cNvSpPr>
            <a:spLocks noGrp="1"/>
          </p:cNvSpPr>
          <p:nvPr>
            <p:ph type="body" sz="quarter" idx="28" hasCustomPrompt="1"/>
          </p:nvPr>
        </p:nvSpPr>
        <p:spPr>
          <a:xfrm>
            <a:off x="1667508" y="5808245"/>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Mobile phone number</a:t>
            </a:r>
          </a:p>
        </p:txBody>
      </p:sp>
      <p:sp>
        <p:nvSpPr>
          <p:cNvPr id="14" name="CVPictureRight_2">
            <a:extLst>
              <a:ext uri="{FF2B5EF4-FFF2-40B4-BE49-F238E27FC236}">
                <a16:creationId xmlns:a16="http://schemas.microsoft.com/office/drawing/2014/main" id="{7688168C-BC61-449F-BD5B-D8E78D693312}"/>
              </a:ext>
            </a:extLst>
          </p:cNvPr>
          <p:cNvSpPr>
            <a:spLocks noGrp="1"/>
          </p:cNvSpPr>
          <p:nvPr>
            <p:ph type="pic" sz="quarter" idx="29" hasCustomPrompt="1"/>
          </p:nvPr>
        </p:nvSpPr>
        <p:spPr>
          <a:xfrm>
            <a:off x="638333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5" name="CVTitleRight_2">
            <a:extLst>
              <a:ext uri="{FF2B5EF4-FFF2-40B4-BE49-F238E27FC236}">
                <a16:creationId xmlns:a16="http://schemas.microsoft.com/office/drawing/2014/main" id="{77437DD2-4EC4-47ED-B51B-12534CD16C6B}"/>
              </a:ext>
            </a:extLst>
          </p:cNvPr>
          <p:cNvSpPr>
            <a:spLocks noGrp="1"/>
          </p:cNvSpPr>
          <p:nvPr>
            <p:ph type="body" sz="quarter" idx="30" hasCustomPrompt="1"/>
          </p:nvPr>
        </p:nvSpPr>
        <p:spPr>
          <a:xfrm>
            <a:off x="7750808" y="1628800"/>
            <a:ext cx="4141155" cy="184666"/>
          </a:xfrm>
          <a:prstGeom prst="rect">
            <a:avLst/>
          </a:prstGeom>
        </p:spPr>
        <p:txBody>
          <a:bodyPr vert="horz" wrap="square" lIns="0" tIns="0" rIns="0" bIns="0">
            <a:spAutoFit/>
          </a:bodyPr>
          <a:lstStyle>
            <a:lvl1pPr marL="0" indent="0">
              <a:buNone/>
              <a:defRPr sz="1200" b="1" baseline="0">
                <a:solidFill>
                  <a:schemeClr val="accent2"/>
                </a:solidFill>
                <a:latin typeface="Arial" pitchFamily="34" charset="0"/>
                <a:cs typeface="Arial" pitchFamily="34" charset="0"/>
              </a:defRPr>
            </a:lvl1pPr>
          </a:lstStyle>
          <a:p>
            <a:pPr lvl="0"/>
            <a:r>
              <a:rPr lang="en-GB" noProof="0"/>
              <a:t>Title (1 row max)</a:t>
            </a:r>
          </a:p>
        </p:txBody>
      </p:sp>
      <p:sp>
        <p:nvSpPr>
          <p:cNvPr id="19" name="CVDescriptionRight_2">
            <a:extLst>
              <a:ext uri="{FF2B5EF4-FFF2-40B4-BE49-F238E27FC236}">
                <a16:creationId xmlns:a16="http://schemas.microsoft.com/office/drawing/2014/main" id="{6385314A-3A32-4E0C-9BAF-7A690D5A83F4}"/>
              </a:ext>
            </a:extLst>
          </p:cNvPr>
          <p:cNvSpPr>
            <a:spLocks noGrp="1"/>
          </p:cNvSpPr>
          <p:nvPr>
            <p:ph type="body" sz="quarter" idx="31" hasCustomPrompt="1"/>
          </p:nvPr>
        </p:nvSpPr>
        <p:spPr>
          <a:xfrm>
            <a:off x="7750808" y="2240867"/>
            <a:ext cx="4141155" cy="2527317"/>
          </a:xfrm>
          <a:prstGeom prst="rect">
            <a:avLst/>
          </a:prstGeom>
        </p:spPr>
        <p:txBody>
          <a:bodyPr vert="horz" wrap="square" lIns="0" tIns="0" rIns="0" bIns="0">
            <a:noAutofit/>
          </a:bodyPr>
          <a:lstStyle>
            <a:lvl1pPr marL="0" indent="0">
              <a:buNone/>
              <a:defRPr sz="1100" b="0" baseline="0">
                <a:solidFill>
                  <a:schemeClr val="tx2"/>
                </a:solidFill>
                <a:latin typeface="Arial" pitchFamily="34" charset="0"/>
                <a:cs typeface="Arial" pitchFamily="34" charset="0"/>
              </a:defRPr>
            </a:lvl1pPr>
          </a:lstStyle>
          <a:p>
            <a:pPr lvl="0"/>
            <a:r>
              <a:rPr lang="en-GB" noProof="0"/>
              <a:t>Click here to add a job description (15 rows max)</a:t>
            </a:r>
          </a:p>
        </p:txBody>
      </p:sp>
      <p:sp>
        <p:nvSpPr>
          <p:cNvPr id="20" name="CVTelephoneRight_2">
            <a:extLst>
              <a:ext uri="{FF2B5EF4-FFF2-40B4-BE49-F238E27FC236}">
                <a16:creationId xmlns:a16="http://schemas.microsoft.com/office/drawing/2014/main" id="{70130985-4FBA-4184-A9BF-489A31EBDB08}"/>
              </a:ext>
            </a:extLst>
          </p:cNvPr>
          <p:cNvSpPr>
            <a:spLocks noGrp="1"/>
          </p:cNvSpPr>
          <p:nvPr>
            <p:ph type="body" sz="quarter" idx="32" hasCustomPrompt="1"/>
          </p:nvPr>
        </p:nvSpPr>
        <p:spPr>
          <a:xfrm>
            <a:off x="7750808" y="5551832"/>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Phone number</a:t>
            </a:r>
          </a:p>
        </p:txBody>
      </p:sp>
      <p:sp>
        <p:nvSpPr>
          <p:cNvPr id="21" name="CVEmailRight_2">
            <a:extLst>
              <a:ext uri="{FF2B5EF4-FFF2-40B4-BE49-F238E27FC236}">
                <a16:creationId xmlns:a16="http://schemas.microsoft.com/office/drawing/2014/main" id="{FFA2F06F-9706-4822-803E-6B73BE8C924E}"/>
              </a:ext>
            </a:extLst>
          </p:cNvPr>
          <p:cNvSpPr>
            <a:spLocks noGrp="1"/>
          </p:cNvSpPr>
          <p:nvPr>
            <p:ph type="body" sz="quarter" idx="33" hasCustomPrompt="1"/>
          </p:nvPr>
        </p:nvSpPr>
        <p:spPr>
          <a:xfrm>
            <a:off x="7750808" y="6064657"/>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Email address</a:t>
            </a:r>
          </a:p>
        </p:txBody>
      </p:sp>
      <p:sp>
        <p:nvSpPr>
          <p:cNvPr id="23" name="CVSubTitleRight_2">
            <a:extLst>
              <a:ext uri="{FF2B5EF4-FFF2-40B4-BE49-F238E27FC236}">
                <a16:creationId xmlns:a16="http://schemas.microsoft.com/office/drawing/2014/main" id="{715C7401-39FC-4FB0-BD31-4CFEA7ABB9DB}"/>
              </a:ext>
            </a:extLst>
          </p:cNvPr>
          <p:cNvSpPr>
            <a:spLocks noGrp="1"/>
          </p:cNvSpPr>
          <p:nvPr>
            <p:ph type="body" sz="quarter" idx="34" hasCustomPrompt="1"/>
          </p:nvPr>
        </p:nvSpPr>
        <p:spPr>
          <a:xfrm>
            <a:off x="7750808" y="1879738"/>
            <a:ext cx="4141155" cy="184666"/>
          </a:xfrm>
          <a:prstGeom prst="rect">
            <a:avLst/>
          </a:prstGeom>
        </p:spPr>
        <p:txBody>
          <a:bodyPr vert="horz" wrap="square" lIns="0" tIns="0" rIns="0" bIns="0">
            <a:spAutoFit/>
          </a:bodyPr>
          <a:lstStyle>
            <a:lvl1pPr marL="0" indent="0">
              <a:buNone/>
              <a:defRPr sz="1200" b="0">
                <a:solidFill>
                  <a:schemeClr val="accent2"/>
                </a:solidFill>
                <a:latin typeface="Arial" pitchFamily="34" charset="0"/>
                <a:cs typeface="Arial" pitchFamily="34" charset="0"/>
              </a:defRPr>
            </a:lvl1pPr>
          </a:lstStyle>
          <a:p>
            <a:pPr lvl="0"/>
            <a:r>
              <a:rPr lang="en-GB" noProof="0"/>
              <a:t>Subtitle – optional (1 row max)</a:t>
            </a:r>
          </a:p>
        </p:txBody>
      </p:sp>
      <p:sp>
        <p:nvSpPr>
          <p:cNvPr id="25" name="CVLanguagesRight_2">
            <a:extLst>
              <a:ext uri="{FF2B5EF4-FFF2-40B4-BE49-F238E27FC236}">
                <a16:creationId xmlns:a16="http://schemas.microsoft.com/office/drawing/2014/main" id="{EE4D17EC-1392-4A37-BF07-B629D5C650BB}"/>
              </a:ext>
            </a:extLst>
          </p:cNvPr>
          <p:cNvSpPr>
            <a:spLocks noGrp="1"/>
          </p:cNvSpPr>
          <p:nvPr>
            <p:ph type="body" sz="quarter" idx="35" hasCustomPrompt="1"/>
          </p:nvPr>
        </p:nvSpPr>
        <p:spPr>
          <a:xfrm>
            <a:off x="7750808" y="4946801"/>
            <a:ext cx="4141155" cy="169277"/>
          </a:xfrm>
          <a:prstGeom prst="rect">
            <a:avLst/>
          </a:prstGeom>
        </p:spPr>
        <p:txBody>
          <a:bodyPr vert="horz" wrap="square" lIns="0" tIns="0" rIns="0" bIns="0">
            <a:spAutoFit/>
          </a:bodyPr>
          <a:lstStyle>
            <a:lvl1pPr marL="0" indent="0">
              <a:buNone/>
              <a:defRPr sz="1100" b="0">
                <a:solidFill>
                  <a:schemeClr val="accent4"/>
                </a:solidFill>
                <a:latin typeface="Arial" pitchFamily="34" charset="0"/>
                <a:cs typeface="Arial" pitchFamily="34" charset="0"/>
              </a:defRPr>
            </a:lvl1pPr>
          </a:lstStyle>
          <a:p>
            <a:pPr lvl="0"/>
            <a:r>
              <a:rPr lang="en-GB" noProof="0"/>
              <a:t>Add languages of proficiency – optional (1 row max)</a:t>
            </a:r>
          </a:p>
        </p:txBody>
      </p:sp>
      <p:sp>
        <p:nvSpPr>
          <p:cNvPr id="26" name="CVEducationRight_2">
            <a:extLst>
              <a:ext uri="{FF2B5EF4-FFF2-40B4-BE49-F238E27FC236}">
                <a16:creationId xmlns:a16="http://schemas.microsoft.com/office/drawing/2014/main" id="{7C612E5E-6802-4519-B727-526B65A11BD8}"/>
              </a:ext>
            </a:extLst>
          </p:cNvPr>
          <p:cNvSpPr>
            <a:spLocks noGrp="1"/>
          </p:cNvSpPr>
          <p:nvPr>
            <p:ph type="body" sz="quarter" idx="36" hasCustomPrompt="1"/>
          </p:nvPr>
        </p:nvSpPr>
        <p:spPr>
          <a:xfrm>
            <a:off x="7750808" y="5203939"/>
            <a:ext cx="4141155" cy="169277"/>
          </a:xfrm>
          <a:prstGeom prst="rect">
            <a:avLst/>
          </a:prstGeom>
        </p:spPr>
        <p:txBody>
          <a:bodyPr vert="horz" wrap="square" lIns="0" tIns="0" rIns="0" bIns="0">
            <a:spAutoFit/>
          </a:bodyPr>
          <a:lstStyle>
            <a:lvl1pPr marL="0" indent="0">
              <a:buNone/>
              <a:defRPr sz="1100" b="0" baseline="0">
                <a:solidFill>
                  <a:schemeClr val="accent4"/>
                </a:solidFill>
                <a:latin typeface="Arial" pitchFamily="34" charset="0"/>
                <a:cs typeface="Arial" pitchFamily="34" charset="0"/>
              </a:defRPr>
            </a:lvl1pPr>
          </a:lstStyle>
          <a:p>
            <a:pPr lvl="0"/>
            <a:r>
              <a:rPr lang="en-GB" noProof="0"/>
              <a:t>Add education – optional (2 rows max)</a:t>
            </a:r>
          </a:p>
        </p:txBody>
      </p:sp>
      <p:sp>
        <p:nvSpPr>
          <p:cNvPr id="27" name="CVNameRight_2">
            <a:extLst>
              <a:ext uri="{FF2B5EF4-FFF2-40B4-BE49-F238E27FC236}">
                <a16:creationId xmlns:a16="http://schemas.microsoft.com/office/drawing/2014/main" id="{B473886F-6F62-43BA-B294-32CBF09BE29D}"/>
              </a:ext>
            </a:extLst>
          </p:cNvPr>
          <p:cNvSpPr>
            <a:spLocks noGrp="1"/>
          </p:cNvSpPr>
          <p:nvPr>
            <p:ph type="body" sz="quarter" idx="37" hasCustomPrompt="1"/>
          </p:nvPr>
        </p:nvSpPr>
        <p:spPr>
          <a:xfrm>
            <a:off x="7750808" y="1125538"/>
            <a:ext cx="4141155" cy="246221"/>
          </a:xfrm>
          <a:prstGeom prst="rect">
            <a:avLst/>
          </a:prstGeom>
        </p:spPr>
        <p:txBody>
          <a:bodyPr vert="horz" wrap="square" lIns="0" tIns="0" rIns="0" bIns="0">
            <a:spAutoFit/>
          </a:bodyPr>
          <a:lstStyle>
            <a:lvl1pPr marL="0" indent="0">
              <a:buNone/>
              <a:defRPr sz="1600" b="1" baseline="0">
                <a:solidFill>
                  <a:schemeClr val="bg2"/>
                </a:solidFill>
                <a:latin typeface="Arial" pitchFamily="34" charset="0"/>
                <a:cs typeface="Arial" pitchFamily="34" charset="0"/>
              </a:defRPr>
            </a:lvl1pPr>
          </a:lstStyle>
          <a:p>
            <a:pPr lvl="0"/>
            <a:r>
              <a:rPr lang="en-GB" noProof="0"/>
              <a:t>Name</a:t>
            </a:r>
          </a:p>
        </p:txBody>
      </p:sp>
      <p:sp>
        <p:nvSpPr>
          <p:cNvPr id="28" name="CVMobileRight_2">
            <a:extLst>
              <a:ext uri="{FF2B5EF4-FFF2-40B4-BE49-F238E27FC236}">
                <a16:creationId xmlns:a16="http://schemas.microsoft.com/office/drawing/2014/main" id="{86ADE61C-9932-4AF3-9294-F9D543BF455A}"/>
              </a:ext>
            </a:extLst>
          </p:cNvPr>
          <p:cNvSpPr>
            <a:spLocks noGrp="1"/>
          </p:cNvSpPr>
          <p:nvPr>
            <p:ph type="body" sz="quarter" idx="38" hasCustomPrompt="1"/>
          </p:nvPr>
        </p:nvSpPr>
        <p:spPr>
          <a:xfrm>
            <a:off x="7750808" y="5808245"/>
            <a:ext cx="4141155" cy="169277"/>
          </a:xfrm>
          <a:prstGeom prst="rect">
            <a:avLst/>
          </a:prstGeom>
        </p:spPr>
        <p:txBody>
          <a:bodyPr vert="horz" wrap="square" lIns="0" tIns="0" rIns="0" bIns="0">
            <a:spAutoFit/>
          </a:bodyPr>
          <a:lstStyle>
            <a:lvl1pPr marL="0" indent="0">
              <a:lnSpc>
                <a:spcPct val="100000"/>
              </a:lnSpc>
              <a:spcBef>
                <a:spcPts val="0"/>
              </a:spcBef>
              <a:buNone/>
              <a:defRPr sz="1100" b="0">
                <a:solidFill>
                  <a:schemeClr val="bg2"/>
                </a:solidFill>
                <a:latin typeface="+mn-lt"/>
                <a:cs typeface="Arial" pitchFamily="34" charset="0"/>
              </a:defRPr>
            </a:lvl1pPr>
          </a:lstStyle>
          <a:p>
            <a:pPr lvl="0"/>
            <a:r>
              <a:rPr lang="en-GB" noProof="0"/>
              <a:t>Mobile phone number</a:t>
            </a:r>
          </a:p>
        </p:txBody>
      </p:sp>
    </p:spTree>
    <p:extLst>
      <p:ext uri="{BB962C8B-B14F-4D97-AF65-F5344CB8AC3E}">
        <p14:creationId xmlns:p14="http://schemas.microsoft.com/office/powerpoint/2010/main" val="3900565708"/>
      </p:ext>
    </p:extLst>
  </p:cSld>
  <p:clrMapOvr>
    <a:masterClrMapping/>
  </p:clrMapOvr>
  <p:extLst>
    <p:ext uri="{DCECCB84-F9BA-43D5-87BE-67443E8EF086}">
      <p15:sldGuideLst xmlns:p15="http://schemas.microsoft.com/office/powerpoint/2012/main">
        <p15:guide id="1" pos="3840">
          <p15:clr>
            <a:srgbClr val="FBAE40"/>
          </p15:clr>
        </p15:guide>
        <p15:guide id="2" orient="horz" pos="2341">
          <p15:clr>
            <a:srgbClr val="FBAE40"/>
          </p15:clr>
        </p15:guide>
        <p15:guide id="3" pos="3659">
          <p15:clr>
            <a:srgbClr val="FBAE40"/>
          </p15:clr>
        </p15:guide>
        <p15:guide id="4" pos="4021">
          <p15:clr>
            <a:srgbClr val="FBAE40"/>
          </p15:clr>
        </p15:guide>
        <p15:guide id="5" pos="5790">
          <p15:clr>
            <a:srgbClr val="FBAE40"/>
          </p15:clr>
        </p15:guide>
        <p15:guide id="6" pos="7061">
          <p15:clr>
            <a:srgbClr val="FBAE40"/>
          </p15:clr>
        </p15:guide>
        <p15:guide id="7" pos="7491">
          <p15:clr>
            <a:srgbClr val="FBAE40"/>
          </p15:clr>
        </p15:guide>
        <p15:guide id="8" pos="619">
          <p15:clr>
            <a:srgbClr val="FBAE40"/>
          </p15:clr>
        </p15:guide>
        <p15:guide id="9" pos="189">
          <p15:clr>
            <a:srgbClr val="FBAE40"/>
          </p15:clr>
        </p15:guide>
        <p15:guide id="10" orient="horz" pos="709">
          <p15:clr>
            <a:srgbClr val="FBAE40"/>
          </p15:clr>
        </p15:guide>
        <p15:guide id="11" orient="horz" pos="187">
          <p15:clr>
            <a:srgbClr val="FBAE40"/>
          </p15:clr>
        </p15:guide>
        <p15:guide id="12" orient="horz" pos="39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V 6 per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_1"/>
          <p:cNvSpPr>
            <a:spLocks noGrp="1"/>
          </p:cNvSpPr>
          <p:nvPr>
            <p:ph type="pic" sz="quarter" idx="13" hasCustomPrompt="1"/>
          </p:nvPr>
        </p:nvSpPr>
        <p:spPr>
          <a:xfrm>
            <a:off x="30003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9" name="CVTitleRight_1"/>
          <p:cNvSpPr>
            <a:spLocks noGrp="1"/>
          </p:cNvSpPr>
          <p:nvPr>
            <p:ph type="body" sz="quarter" idx="14" hasCustomPrompt="1"/>
          </p:nvPr>
        </p:nvSpPr>
        <p:spPr>
          <a:xfrm>
            <a:off x="1667509" y="1614239"/>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2" name="CVTelephoneRight_1"/>
          <p:cNvSpPr>
            <a:spLocks noGrp="1"/>
          </p:cNvSpPr>
          <p:nvPr>
            <p:ph type="body" sz="quarter" idx="17" hasCustomPrompt="1"/>
          </p:nvPr>
        </p:nvSpPr>
        <p:spPr>
          <a:xfrm>
            <a:off x="1664123" y="2326177"/>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3" name="CVEmailRight_1"/>
          <p:cNvSpPr>
            <a:spLocks noGrp="1"/>
          </p:cNvSpPr>
          <p:nvPr>
            <p:ph type="body" sz="quarter" idx="19" hasCustomPrompt="1"/>
          </p:nvPr>
        </p:nvSpPr>
        <p:spPr>
          <a:xfrm>
            <a:off x="1664123" y="283900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6" name="CVSubTitleRight_1"/>
          <p:cNvSpPr>
            <a:spLocks noGrp="1"/>
          </p:cNvSpPr>
          <p:nvPr>
            <p:ph type="body" sz="quarter" idx="23" hasCustomPrompt="1"/>
          </p:nvPr>
        </p:nvSpPr>
        <p:spPr>
          <a:xfrm>
            <a:off x="1667509" y="1865177"/>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22" name="CVNameRight_1"/>
          <p:cNvSpPr>
            <a:spLocks noGrp="1"/>
          </p:cNvSpPr>
          <p:nvPr>
            <p:ph type="body" sz="quarter" idx="27" hasCustomPrompt="1"/>
          </p:nvPr>
        </p:nvSpPr>
        <p:spPr>
          <a:xfrm>
            <a:off x="1667509" y="1130765"/>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24" name="CVMobileRight_1"/>
          <p:cNvSpPr>
            <a:spLocks noGrp="1"/>
          </p:cNvSpPr>
          <p:nvPr>
            <p:ph type="body" sz="quarter" idx="28" hasCustomPrompt="1"/>
          </p:nvPr>
        </p:nvSpPr>
        <p:spPr>
          <a:xfrm>
            <a:off x="1664123" y="258259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36" name="CVPictureRight_2">
            <a:extLst>
              <a:ext uri="{FF2B5EF4-FFF2-40B4-BE49-F238E27FC236}">
                <a16:creationId xmlns:a16="http://schemas.microsoft.com/office/drawing/2014/main" id="{C52F64D1-86F3-42A6-B782-024C27E8B10B}"/>
              </a:ext>
            </a:extLst>
          </p:cNvPr>
          <p:cNvSpPr>
            <a:spLocks noGrp="1"/>
          </p:cNvSpPr>
          <p:nvPr>
            <p:ph type="pic" sz="quarter" idx="29" hasCustomPrompt="1"/>
          </p:nvPr>
        </p:nvSpPr>
        <p:spPr>
          <a:xfrm>
            <a:off x="4276447"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37" name="CVTitleRight_2">
            <a:extLst>
              <a:ext uri="{FF2B5EF4-FFF2-40B4-BE49-F238E27FC236}">
                <a16:creationId xmlns:a16="http://schemas.microsoft.com/office/drawing/2014/main" id="{E251E5CB-EE13-4615-9464-7B8F23D94875}"/>
              </a:ext>
            </a:extLst>
          </p:cNvPr>
          <p:cNvSpPr>
            <a:spLocks noGrp="1"/>
          </p:cNvSpPr>
          <p:nvPr>
            <p:ph type="body" sz="quarter" idx="30" hasCustomPrompt="1"/>
          </p:nvPr>
        </p:nvSpPr>
        <p:spPr>
          <a:xfrm>
            <a:off x="5643917" y="1614239"/>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38" name="CVTelephoneRight_2">
            <a:extLst>
              <a:ext uri="{FF2B5EF4-FFF2-40B4-BE49-F238E27FC236}">
                <a16:creationId xmlns:a16="http://schemas.microsoft.com/office/drawing/2014/main" id="{8E5409DE-9979-45AF-A1D2-A6882186C27E}"/>
              </a:ext>
            </a:extLst>
          </p:cNvPr>
          <p:cNvSpPr>
            <a:spLocks noGrp="1"/>
          </p:cNvSpPr>
          <p:nvPr>
            <p:ph type="body" sz="quarter" idx="31" hasCustomPrompt="1"/>
          </p:nvPr>
        </p:nvSpPr>
        <p:spPr>
          <a:xfrm>
            <a:off x="5640531" y="2326177"/>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39" name="CVEmailRight_2">
            <a:extLst>
              <a:ext uri="{FF2B5EF4-FFF2-40B4-BE49-F238E27FC236}">
                <a16:creationId xmlns:a16="http://schemas.microsoft.com/office/drawing/2014/main" id="{2CA1285D-40AB-4B61-AD8B-5D5BEBA2E4D3}"/>
              </a:ext>
            </a:extLst>
          </p:cNvPr>
          <p:cNvSpPr>
            <a:spLocks noGrp="1"/>
          </p:cNvSpPr>
          <p:nvPr>
            <p:ph type="body" sz="quarter" idx="32" hasCustomPrompt="1"/>
          </p:nvPr>
        </p:nvSpPr>
        <p:spPr>
          <a:xfrm>
            <a:off x="5640531" y="283900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40" name="CVSubTitleRight_2">
            <a:extLst>
              <a:ext uri="{FF2B5EF4-FFF2-40B4-BE49-F238E27FC236}">
                <a16:creationId xmlns:a16="http://schemas.microsoft.com/office/drawing/2014/main" id="{F99DD16C-5317-482B-B29C-52EBDF1CD7DF}"/>
              </a:ext>
            </a:extLst>
          </p:cNvPr>
          <p:cNvSpPr>
            <a:spLocks noGrp="1"/>
          </p:cNvSpPr>
          <p:nvPr>
            <p:ph type="body" sz="quarter" idx="33" hasCustomPrompt="1"/>
          </p:nvPr>
        </p:nvSpPr>
        <p:spPr>
          <a:xfrm>
            <a:off x="5643917" y="1865177"/>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41" name="CVNameRight_2">
            <a:extLst>
              <a:ext uri="{FF2B5EF4-FFF2-40B4-BE49-F238E27FC236}">
                <a16:creationId xmlns:a16="http://schemas.microsoft.com/office/drawing/2014/main" id="{403F3701-0BD5-43A8-BBEC-777B80B6BA22}"/>
              </a:ext>
            </a:extLst>
          </p:cNvPr>
          <p:cNvSpPr>
            <a:spLocks noGrp="1"/>
          </p:cNvSpPr>
          <p:nvPr>
            <p:ph type="body" sz="quarter" idx="34" hasCustomPrompt="1"/>
          </p:nvPr>
        </p:nvSpPr>
        <p:spPr>
          <a:xfrm>
            <a:off x="5643917" y="1130765"/>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42" name="CVMobileRight_2">
            <a:extLst>
              <a:ext uri="{FF2B5EF4-FFF2-40B4-BE49-F238E27FC236}">
                <a16:creationId xmlns:a16="http://schemas.microsoft.com/office/drawing/2014/main" id="{3627E713-BC06-45D1-8D87-980A67087421}"/>
              </a:ext>
            </a:extLst>
          </p:cNvPr>
          <p:cNvSpPr>
            <a:spLocks noGrp="1"/>
          </p:cNvSpPr>
          <p:nvPr>
            <p:ph type="body" sz="quarter" idx="35" hasCustomPrompt="1"/>
          </p:nvPr>
        </p:nvSpPr>
        <p:spPr>
          <a:xfrm>
            <a:off x="5640531" y="258259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43" name="CVPictureRight_3">
            <a:extLst>
              <a:ext uri="{FF2B5EF4-FFF2-40B4-BE49-F238E27FC236}">
                <a16:creationId xmlns:a16="http://schemas.microsoft.com/office/drawing/2014/main" id="{D3F060BE-145F-45E4-8754-B2AE91DDA242}"/>
              </a:ext>
            </a:extLst>
          </p:cNvPr>
          <p:cNvSpPr>
            <a:spLocks noGrp="1"/>
          </p:cNvSpPr>
          <p:nvPr>
            <p:ph type="pic" sz="quarter" idx="36" hasCustomPrompt="1"/>
          </p:nvPr>
        </p:nvSpPr>
        <p:spPr>
          <a:xfrm>
            <a:off x="8259627"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44" name="CVTitleRight_3">
            <a:extLst>
              <a:ext uri="{FF2B5EF4-FFF2-40B4-BE49-F238E27FC236}">
                <a16:creationId xmlns:a16="http://schemas.microsoft.com/office/drawing/2014/main" id="{C1147DB5-3DC1-4C9B-9066-05B6B145CBCB}"/>
              </a:ext>
            </a:extLst>
          </p:cNvPr>
          <p:cNvSpPr>
            <a:spLocks noGrp="1"/>
          </p:cNvSpPr>
          <p:nvPr>
            <p:ph type="body" sz="quarter" idx="37" hasCustomPrompt="1"/>
          </p:nvPr>
        </p:nvSpPr>
        <p:spPr>
          <a:xfrm>
            <a:off x="9627097" y="1614239"/>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45" name="CVTelephoneRight_3">
            <a:extLst>
              <a:ext uri="{FF2B5EF4-FFF2-40B4-BE49-F238E27FC236}">
                <a16:creationId xmlns:a16="http://schemas.microsoft.com/office/drawing/2014/main" id="{AD13E0EC-9141-4DA4-BD8C-982D81164B2D}"/>
              </a:ext>
            </a:extLst>
          </p:cNvPr>
          <p:cNvSpPr>
            <a:spLocks noGrp="1"/>
          </p:cNvSpPr>
          <p:nvPr>
            <p:ph type="body" sz="quarter" idx="38" hasCustomPrompt="1"/>
          </p:nvPr>
        </p:nvSpPr>
        <p:spPr>
          <a:xfrm>
            <a:off x="9623711" y="2326177"/>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46" name="CVEmailRight_3">
            <a:extLst>
              <a:ext uri="{FF2B5EF4-FFF2-40B4-BE49-F238E27FC236}">
                <a16:creationId xmlns:a16="http://schemas.microsoft.com/office/drawing/2014/main" id="{67AB2A95-5DF6-40EA-9BA7-0B1800CAFCEF}"/>
              </a:ext>
            </a:extLst>
          </p:cNvPr>
          <p:cNvSpPr>
            <a:spLocks noGrp="1"/>
          </p:cNvSpPr>
          <p:nvPr>
            <p:ph type="body" sz="quarter" idx="39" hasCustomPrompt="1"/>
          </p:nvPr>
        </p:nvSpPr>
        <p:spPr>
          <a:xfrm>
            <a:off x="9623711" y="283900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47" name="CVSubTitleRight_3">
            <a:extLst>
              <a:ext uri="{FF2B5EF4-FFF2-40B4-BE49-F238E27FC236}">
                <a16:creationId xmlns:a16="http://schemas.microsoft.com/office/drawing/2014/main" id="{D24BAC20-E03D-4F61-8A1C-946D4F436B02}"/>
              </a:ext>
            </a:extLst>
          </p:cNvPr>
          <p:cNvSpPr>
            <a:spLocks noGrp="1"/>
          </p:cNvSpPr>
          <p:nvPr>
            <p:ph type="body" sz="quarter" idx="40" hasCustomPrompt="1"/>
          </p:nvPr>
        </p:nvSpPr>
        <p:spPr>
          <a:xfrm>
            <a:off x="9627097" y="1865177"/>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48" name="CVNameRight_3">
            <a:extLst>
              <a:ext uri="{FF2B5EF4-FFF2-40B4-BE49-F238E27FC236}">
                <a16:creationId xmlns:a16="http://schemas.microsoft.com/office/drawing/2014/main" id="{EF243D4D-9A28-426A-9A24-B321D23D81E8}"/>
              </a:ext>
            </a:extLst>
          </p:cNvPr>
          <p:cNvSpPr>
            <a:spLocks noGrp="1"/>
          </p:cNvSpPr>
          <p:nvPr>
            <p:ph type="body" sz="quarter" idx="41" hasCustomPrompt="1"/>
          </p:nvPr>
        </p:nvSpPr>
        <p:spPr>
          <a:xfrm>
            <a:off x="9627097" y="1130765"/>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49" name="CVMobileRight_3">
            <a:extLst>
              <a:ext uri="{FF2B5EF4-FFF2-40B4-BE49-F238E27FC236}">
                <a16:creationId xmlns:a16="http://schemas.microsoft.com/office/drawing/2014/main" id="{22ABA9B4-D999-4ECD-87EB-48E8E08386B0}"/>
              </a:ext>
            </a:extLst>
          </p:cNvPr>
          <p:cNvSpPr>
            <a:spLocks noGrp="1"/>
          </p:cNvSpPr>
          <p:nvPr>
            <p:ph type="body" sz="quarter" idx="42" hasCustomPrompt="1"/>
          </p:nvPr>
        </p:nvSpPr>
        <p:spPr>
          <a:xfrm>
            <a:off x="9623711" y="258259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50" name="CVPictureRight_4">
            <a:extLst>
              <a:ext uri="{FF2B5EF4-FFF2-40B4-BE49-F238E27FC236}">
                <a16:creationId xmlns:a16="http://schemas.microsoft.com/office/drawing/2014/main" id="{AE7248CA-2C34-47DF-8903-93423C457B71}"/>
              </a:ext>
            </a:extLst>
          </p:cNvPr>
          <p:cNvSpPr>
            <a:spLocks noGrp="1"/>
          </p:cNvSpPr>
          <p:nvPr>
            <p:ph type="pic" sz="quarter" idx="43" hasCustomPrompt="1"/>
          </p:nvPr>
        </p:nvSpPr>
        <p:spPr>
          <a:xfrm>
            <a:off x="300039"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51" name="CVTitleRight_4">
            <a:extLst>
              <a:ext uri="{FF2B5EF4-FFF2-40B4-BE49-F238E27FC236}">
                <a16:creationId xmlns:a16="http://schemas.microsoft.com/office/drawing/2014/main" id="{08799539-C89B-4B01-B225-A78516EDE948}"/>
              </a:ext>
            </a:extLst>
          </p:cNvPr>
          <p:cNvSpPr>
            <a:spLocks noGrp="1"/>
          </p:cNvSpPr>
          <p:nvPr>
            <p:ph type="body" sz="quarter" idx="44" hasCustomPrompt="1"/>
          </p:nvPr>
        </p:nvSpPr>
        <p:spPr>
          <a:xfrm>
            <a:off x="1667509" y="4266613"/>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52" name="CVTelephoneRight_4">
            <a:extLst>
              <a:ext uri="{FF2B5EF4-FFF2-40B4-BE49-F238E27FC236}">
                <a16:creationId xmlns:a16="http://schemas.microsoft.com/office/drawing/2014/main" id="{1723A050-1505-4B23-8D19-1DA298A7C134}"/>
              </a:ext>
            </a:extLst>
          </p:cNvPr>
          <p:cNvSpPr>
            <a:spLocks noGrp="1"/>
          </p:cNvSpPr>
          <p:nvPr>
            <p:ph type="body" sz="quarter" idx="45" hasCustomPrompt="1"/>
          </p:nvPr>
        </p:nvSpPr>
        <p:spPr>
          <a:xfrm>
            <a:off x="1664123" y="497855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53" name="CVEmailRight_4">
            <a:extLst>
              <a:ext uri="{FF2B5EF4-FFF2-40B4-BE49-F238E27FC236}">
                <a16:creationId xmlns:a16="http://schemas.microsoft.com/office/drawing/2014/main" id="{5552C1AE-8204-4FF2-AB89-E97EACEE611C}"/>
              </a:ext>
            </a:extLst>
          </p:cNvPr>
          <p:cNvSpPr>
            <a:spLocks noGrp="1"/>
          </p:cNvSpPr>
          <p:nvPr>
            <p:ph type="body" sz="quarter" idx="46" hasCustomPrompt="1"/>
          </p:nvPr>
        </p:nvSpPr>
        <p:spPr>
          <a:xfrm>
            <a:off x="1664123" y="5491376"/>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54" name="CVSubTitleRight_4">
            <a:extLst>
              <a:ext uri="{FF2B5EF4-FFF2-40B4-BE49-F238E27FC236}">
                <a16:creationId xmlns:a16="http://schemas.microsoft.com/office/drawing/2014/main" id="{81E4D859-82A6-480C-8768-8C09A57F8CB3}"/>
              </a:ext>
            </a:extLst>
          </p:cNvPr>
          <p:cNvSpPr>
            <a:spLocks noGrp="1"/>
          </p:cNvSpPr>
          <p:nvPr>
            <p:ph type="body" sz="quarter" idx="47" hasCustomPrompt="1"/>
          </p:nvPr>
        </p:nvSpPr>
        <p:spPr>
          <a:xfrm>
            <a:off x="1667509" y="451755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55" name="CVNameRight_4">
            <a:extLst>
              <a:ext uri="{FF2B5EF4-FFF2-40B4-BE49-F238E27FC236}">
                <a16:creationId xmlns:a16="http://schemas.microsoft.com/office/drawing/2014/main" id="{1EB85999-88B4-4766-BA66-5B8C6CFC8B12}"/>
              </a:ext>
            </a:extLst>
          </p:cNvPr>
          <p:cNvSpPr>
            <a:spLocks noGrp="1"/>
          </p:cNvSpPr>
          <p:nvPr>
            <p:ph type="body" sz="quarter" idx="48" hasCustomPrompt="1"/>
          </p:nvPr>
        </p:nvSpPr>
        <p:spPr>
          <a:xfrm>
            <a:off x="1667509" y="3783139"/>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56" name="CVMobileRight_4">
            <a:extLst>
              <a:ext uri="{FF2B5EF4-FFF2-40B4-BE49-F238E27FC236}">
                <a16:creationId xmlns:a16="http://schemas.microsoft.com/office/drawing/2014/main" id="{F591653A-E504-42FF-AB53-82748E579B21}"/>
              </a:ext>
            </a:extLst>
          </p:cNvPr>
          <p:cNvSpPr>
            <a:spLocks noGrp="1"/>
          </p:cNvSpPr>
          <p:nvPr>
            <p:ph type="body" sz="quarter" idx="49" hasCustomPrompt="1"/>
          </p:nvPr>
        </p:nvSpPr>
        <p:spPr>
          <a:xfrm>
            <a:off x="1664123" y="523496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57" name="CVPictureRight_5">
            <a:extLst>
              <a:ext uri="{FF2B5EF4-FFF2-40B4-BE49-F238E27FC236}">
                <a16:creationId xmlns:a16="http://schemas.microsoft.com/office/drawing/2014/main" id="{087595A2-7323-4466-97BA-AA33B363CA29}"/>
              </a:ext>
            </a:extLst>
          </p:cNvPr>
          <p:cNvSpPr>
            <a:spLocks noGrp="1"/>
          </p:cNvSpPr>
          <p:nvPr>
            <p:ph type="pic" sz="quarter" idx="50" hasCustomPrompt="1"/>
          </p:nvPr>
        </p:nvSpPr>
        <p:spPr>
          <a:xfrm>
            <a:off x="4276447"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58" name="CVTitleRight_5">
            <a:extLst>
              <a:ext uri="{FF2B5EF4-FFF2-40B4-BE49-F238E27FC236}">
                <a16:creationId xmlns:a16="http://schemas.microsoft.com/office/drawing/2014/main" id="{37F84383-4D87-4172-AEDC-6FB87130A5F9}"/>
              </a:ext>
            </a:extLst>
          </p:cNvPr>
          <p:cNvSpPr>
            <a:spLocks noGrp="1"/>
          </p:cNvSpPr>
          <p:nvPr>
            <p:ph type="body" sz="quarter" idx="51" hasCustomPrompt="1"/>
          </p:nvPr>
        </p:nvSpPr>
        <p:spPr>
          <a:xfrm>
            <a:off x="5643917" y="4266613"/>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59" name="CVTelephoneRight_5">
            <a:extLst>
              <a:ext uri="{FF2B5EF4-FFF2-40B4-BE49-F238E27FC236}">
                <a16:creationId xmlns:a16="http://schemas.microsoft.com/office/drawing/2014/main" id="{55D0CA37-3F42-42C5-9615-C03CB3ECF9C5}"/>
              </a:ext>
            </a:extLst>
          </p:cNvPr>
          <p:cNvSpPr>
            <a:spLocks noGrp="1"/>
          </p:cNvSpPr>
          <p:nvPr>
            <p:ph type="body" sz="quarter" idx="52" hasCustomPrompt="1"/>
          </p:nvPr>
        </p:nvSpPr>
        <p:spPr>
          <a:xfrm>
            <a:off x="5640531" y="497855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60" name="CVEmailRight_5">
            <a:extLst>
              <a:ext uri="{FF2B5EF4-FFF2-40B4-BE49-F238E27FC236}">
                <a16:creationId xmlns:a16="http://schemas.microsoft.com/office/drawing/2014/main" id="{F5DDDD38-07B6-412C-9BDD-2C4724DF618E}"/>
              </a:ext>
            </a:extLst>
          </p:cNvPr>
          <p:cNvSpPr>
            <a:spLocks noGrp="1"/>
          </p:cNvSpPr>
          <p:nvPr>
            <p:ph type="body" sz="quarter" idx="53" hasCustomPrompt="1"/>
          </p:nvPr>
        </p:nvSpPr>
        <p:spPr>
          <a:xfrm>
            <a:off x="5640531" y="5491376"/>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61" name="CVSubTitleRight_5">
            <a:extLst>
              <a:ext uri="{FF2B5EF4-FFF2-40B4-BE49-F238E27FC236}">
                <a16:creationId xmlns:a16="http://schemas.microsoft.com/office/drawing/2014/main" id="{B32FC41E-FB46-471A-B67A-2BA55CA9B065}"/>
              </a:ext>
            </a:extLst>
          </p:cNvPr>
          <p:cNvSpPr>
            <a:spLocks noGrp="1"/>
          </p:cNvSpPr>
          <p:nvPr>
            <p:ph type="body" sz="quarter" idx="54" hasCustomPrompt="1"/>
          </p:nvPr>
        </p:nvSpPr>
        <p:spPr>
          <a:xfrm>
            <a:off x="5643917" y="451755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62" name="CVNameRight_5">
            <a:extLst>
              <a:ext uri="{FF2B5EF4-FFF2-40B4-BE49-F238E27FC236}">
                <a16:creationId xmlns:a16="http://schemas.microsoft.com/office/drawing/2014/main" id="{AAC35A83-3CF9-47CD-9F52-FD63FF7E4C71}"/>
              </a:ext>
            </a:extLst>
          </p:cNvPr>
          <p:cNvSpPr>
            <a:spLocks noGrp="1"/>
          </p:cNvSpPr>
          <p:nvPr>
            <p:ph type="body" sz="quarter" idx="55" hasCustomPrompt="1"/>
          </p:nvPr>
        </p:nvSpPr>
        <p:spPr>
          <a:xfrm>
            <a:off x="5643917" y="3783139"/>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63" name="CVMobileRight_5">
            <a:extLst>
              <a:ext uri="{FF2B5EF4-FFF2-40B4-BE49-F238E27FC236}">
                <a16:creationId xmlns:a16="http://schemas.microsoft.com/office/drawing/2014/main" id="{1028ED6A-3191-454D-B7A2-A01A2F7750D3}"/>
              </a:ext>
            </a:extLst>
          </p:cNvPr>
          <p:cNvSpPr>
            <a:spLocks noGrp="1"/>
          </p:cNvSpPr>
          <p:nvPr>
            <p:ph type="body" sz="quarter" idx="56" hasCustomPrompt="1"/>
          </p:nvPr>
        </p:nvSpPr>
        <p:spPr>
          <a:xfrm>
            <a:off x="5640531" y="523496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64" name="CVPictureRight_6">
            <a:extLst>
              <a:ext uri="{FF2B5EF4-FFF2-40B4-BE49-F238E27FC236}">
                <a16:creationId xmlns:a16="http://schemas.microsoft.com/office/drawing/2014/main" id="{55175CB0-541D-4A0C-8CE3-F8D90EBBB6B3}"/>
              </a:ext>
            </a:extLst>
          </p:cNvPr>
          <p:cNvSpPr>
            <a:spLocks noGrp="1"/>
          </p:cNvSpPr>
          <p:nvPr>
            <p:ph type="pic" sz="quarter" idx="57" hasCustomPrompt="1"/>
          </p:nvPr>
        </p:nvSpPr>
        <p:spPr>
          <a:xfrm>
            <a:off x="8259627"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65" name="CVTitleRight_6">
            <a:extLst>
              <a:ext uri="{FF2B5EF4-FFF2-40B4-BE49-F238E27FC236}">
                <a16:creationId xmlns:a16="http://schemas.microsoft.com/office/drawing/2014/main" id="{A97DA81D-1459-4F01-829B-4404D3188053}"/>
              </a:ext>
            </a:extLst>
          </p:cNvPr>
          <p:cNvSpPr>
            <a:spLocks noGrp="1"/>
          </p:cNvSpPr>
          <p:nvPr>
            <p:ph type="body" sz="quarter" idx="58" hasCustomPrompt="1"/>
          </p:nvPr>
        </p:nvSpPr>
        <p:spPr>
          <a:xfrm>
            <a:off x="9627097" y="4266613"/>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66" name="CVTelephoneRight_6">
            <a:extLst>
              <a:ext uri="{FF2B5EF4-FFF2-40B4-BE49-F238E27FC236}">
                <a16:creationId xmlns:a16="http://schemas.microsoft.com/office/drawing/2014/main" id="{CD26140C-9D7A-491A-8429-61AEFD046CFF}"/>
              </a:ext>
            </a:extLst>
          </p:cNvPr>
          <p:cNvSpPr>
            <a:spLocks noGrp="1"/>
          </p:cNvSpPr>
          <p:nvPr>
            <p:ph type="body" sz="quarter" idx="59" hasCustomPrompt="1"/>
          </p:nvPr>
        </p:nvSpPr>
        <p:spPr>
          <a:xfrm>
            <a:off x="9623711" y="497855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67" name="CVEmailRight_6">
            <a:extLst>
              <a:ext uri="{FF2B5EF4-FFF2-40B4-BE49-F238E27FC236}">
                <a16:creationId xmlns:a16="http://schemas.microsoft.com/office/drawing/2014/main" id="{F19ADEFC-C039-4AA0-A1BB-EDDC69396E6D}"/>
              </a:ext>
            </a:extLst>
          </p:cNvPr>
          <p:cNvSpPr>
            <a:spLocks noGrp="1"/>
          </p:cNvSpPr>
          <p:nvPr>
            <p:ph type="body" sz="quarter" idx="60" hasCustomPrompt="1"/>
          </p:nvPr>
        </p:nvSpPr>
        <p:spPr>
          <a:xfrm>
            <a:off x="9623711" y="5491376"/>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68" name="CVSubTitleRight_6">
            <a:extLst>
              <a:ext uri="{FF2B5EF4-FFF2-40B4-BE49-F238E27FC236}">
                <a16:creationId xmlns:a16="http://schemas.microsoft.com/office/drawing/2014/main" id="{3513941A-9302-4C10-869D-1763103C5053}"/>
              </a:ext>
            </a:extLst>
          </p:cNvPr>
          <p:cNvSpPr>
            <a:spLocks noGrp="1"/>
          </p:cNvSpPr>
          <p:nvPr>
            <p:ph type="body" sz="quarter" idx="61" hasCustomPrompt="1"/>
          </p:nvPr>
        </p:nvSpPr>
        <p:spPr>
          <a:xfrm>
            <a:off x="9627097" y="451755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69" name="CVNameRight_6">
            <a:extLst>
              <a:ext uri="{FF2B5EF4-FFF2-40B4-BE49-F238E27FC236}">
                <a16:creationId xmlns:a16="http://schemas.microsoft.com/office/drawing/2014/main" id="{6BB8F998-597F-4187-9445-11367E6F5C8F}"/>
              </a:ext>
            </a:extLst>
          </p:cNvPr>
          <p:cNvSpPr>
            <a:spLocks noGrp="1"/>
          </p:cNvSpPr>
          <p:nvPr>
            <p:ph type="body" sz="quarter" idx="62" hasCustomPrompt="1"/>
          </p:nvPr>
        </p:nvSpPr>
        <p:spPr>
          <a:xfrm>
            <a:off x="9627097" y="3783139"/>
            <a:ext cx="2268252" cy="338554"/>
          </a:xfrm>
          <a:prstGeom prst="rect">
            <a:avLst/>
          </a:prstGeom>
        </p:spPr>
        <p:txBody>
          <a:bodyPr vert="horz" wrap="square" lIns="0" tIns="0" rIns="0" bIns="0">
            <a:spAutoFit/>
          </a:bodyPr>
          <a:lstStyle>
            <a:lvl1pPr marL="0" indent="0">
              <a:spcBef>
                <a:spcPts val="0"/>
              </a:spcBef>
              <a:buNone/>
              <a:defRPr sz="1100" b="1" baseline="0">
                <a:solidFill>
                  <a:schemeClr val="bg2"/>
                </a:solidFill>
                <a:latin typeface="Arial" pitchFamily="34" charset="0"/>
                <a:cs typeface="Arial" pitchFamily="34" charset="0"/>
              </a:defRPr>
            </a:lvl1pPr>
          </a:lstStyle>
          <a:p>
            <a:pPr lvl="0"/>
            <a:r>
              <a:rPr lang="en-GB" noProof="0"/>
              <a:t>Name</a:t>
            </a:r>
          </a:p>
          <a:p>
            <a:pPr lvl="0"/>
            <a:r>
              <a:rPr lang="en-GB" noProof="0"/>
              <a:t>Surname</a:t>
            </a:r>
          </a:p>
        </p:txBody>
      </p:sp>
      <p:sp>
        <p:nvSpPr>
          <p:cNvPr id="70" name="CVMobileRight_6">
            <a:extLst>
              <a:ext uri="{FF2B5EF4-FFF2-40B4-BE49-F238E27FC236}">
                <a16:creationId xmlns:a16="http://schemas.microsoft.com/office/drawing/2014/main" id="{619517F8-CB59-4AC3-98C6-B4141290E04A}"/>
              </a:ext>
            </a:extLst>
          </p:cNvPr>
          <p:cNvSpPr>
            <a:spLocks noGrp="1"/>
          </p:cNvSpPr>
          <p:nvPr>
            <p:ph type="body" sz="quarter" idx="63" hasCustomPrompt="1"/>
          </p:nvPr>
        </p:nvSpPr>
        <p:spPr>
          <a:xfrm>
            <a:off x="9623711" y="523496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Tree>
    <p:extLst>
      <p:ext uri="{BB962C8B-B14F-4D97-AF65-F5344CB8AC3E}">
        <p14:creationId xmlns:p14="http://schemas.microsoft.com/office/powerpoint/2010/main" val="1369781095"/>
      </p:ext>
    </p:extLst>
  </p:cSld>
  <p:clrMapOvr>
    <a:masterClrMapping/>
  </p:clrMapOvr>
  <p:extLst>
    <p:ext uri="{DCECCB84-F9BA-43D5-87BE-67443E8EF086}">
      <p15:sldGuideLst xmlns:p15="http://schemas.microsoft.com/office/powerpoint/2012/main">
        <p15:guide id="1" pos="3840">
          <p15:clr>
            <a:srgbClr val="FBAE40"/>
          </p15:clr>
        </p15:guide>
        <p15:guide id="2" orient="horz" pos="2341">
          <p15:clr>
            <a:srgbClr val="FBAE40"/>
          </p15:clr>
        </p15:guide>
        <p15:guide id="3" pos="3659">
          <p15:clr>
            <a:srgbClr val="FBAE40"/>
          </p15:clr>
        </p15:guide>
        <p15:guide id="4" pos="4021">
          <p15:clr>
            <a:srgbClr val="FBAE40"/>
          </p15:clr>
        </p15:guide>
        <p15:guide id="5" pos="5790">
          <p15:clr>
            <a:srgbClr val="FBAE40"/>
          </p15:clr>
        </p15:guide>
        <p15:guide id="6" pos="7061">
          <p15:clr>
            <a:srgbClr val="FBAE40"/>
          </p15:clr>
        </p15:guide>
        <p15:guide id="7" pos="7491">
          <p15:clr>
            <a:srgbClr val="FBAE40"/>
          </p15:clr>
        </p15:guide>
        <p15:guide id="8" pos="619">
          <p15:clr>
            <a:srgbClr val="FBAE40"/>
          </p15:clr>
        </p15:guide>
        <p15:guide id="9" pos="189">
          <p15:clr>
            <a:srgbClr val="FBAE40"/>
          </p15:clr>
        </p15:guide>
        <p15:guide id="10" orient="horz" pos="709">
          <p15:clr>
            <a:srgbClr val="FBAE40"/>
          </p15:clr>
        </p15:guide>
        <p15:guide id="11" orient="horz" pos="187">
          <p15:clr>
            <a:srgbClr val="FBAE40"/>
          </p15:clr>
        </p15:guide>
        <p15:guide id="12" orient="horz" pos="397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V 8 per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_1"/>
          <p:cNvSpPr>
            <a:spLocks noGrp="1"/>
          </p:cNvSpPr>
          <p:nvPr>
            <p:ph type="pic" sz="quarter" idx="13" hasCustomPrompt="1"/>
          </p:nvPr>
        </p:nvSpPr>
        <p:spPr>
          <a:xfrm>
            <a:off x="300038"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9" name="CVTitleRight_1"/>
          <p:cNvSpPr>
            <a:spLocks noGrp="1"/>
          </p:cNvSpPr>
          <p:nvPr>
            <p:ph type="body" sz="quarter" idx="14" hasCustomPrompt="1"/>
          </p:nvPr>
        </p:nvSpPr>
        <p:spPr>
          <a:xfrm>
            <a:off x="301503" y="2952367"/>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3" name="CVEmailRight_1"/>
          <p:cNvSpPr>
            <a:spLocks noGrp="1"/>
          </p:cNvSpPr>
          <p:nvPr>
            <p:ph type="body" sz="quarter" idx="19" hasCustomPrompt="1"/>
          </p:nvPr>
        </p:nvSpPr>
        <p:spPr>
          <a:xfrm>
            <a:off x="298117" y="3367573"/>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22" name="CVNameRight_1"/>
          <p:cNvSpPr>
            <a:spLocks noGrp="1"/>
          </p:cNvSpPr>
          <p:nvPr>
            <p:ph type="body" sz="quarter" idx="27" hasCustomPrompt="1"/>
          </p:nvPr>
        </p:nvSpPr>
        <p:spPr>
          <a:xfrm>
            <a:off x="301503" y="2744924"/>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24" name="CVMobileRight_1"/>
          <p:cNvSpPr>
            <a:spLocks noGrp="1"/>
          </p:cNvSpPr>
          <p:nvPr>
            <p:ph type="body" sz="quarter" idx="28" hasCustomPrompt="1"/>
          </p:nvPr>
        </p:nvSpPr>
        <p:spPr>
          <a:xfrm>
            <a:off x="298117" y="3157438"/>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31" name="CVPictureRight_5">
            <a:extLst>
              <a:ext uri="{FF2B5EF4-FFF2-40B4-BE49-F238E27FC236}">
                <a16:creationId xmlns:a16="http://schemas.microsoft.com/office/drawing/2014/main" id="{8FBC70B4-A7C7-438E-A524-F92D792907AB}"/>
              </a:ext>
            </a:extLst>
          </p:cNvPr>
          <p:cNvSpPr>
            <a:spLocks noGrp="1"/>
          </p:cNvSpPr>
          <p:nvPr>
            <p:ph type="pic" sz="quarter" idx="49" hasCustomPrompt="1"/>
          </p:nvPr>
        </p:nvSpPr>
        <p:spPr>
          <a:xfrm>
            <a:off x="300038"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32" name="CVTitleRight_5">
            <a:extLst>
              <a:ext uri="{FF2B5EF4-FFF2-40B4-BE49-F238E27FC236}">
                <a16:creationId xmlns:a16="http://schemas.microsoft.com/office/drawing/2014/main" id="{FE9E8F97-FA47-48D5-8D6B-A82C80A2451F}"/>
              </a:ext>
            </a:extLst>
          </p:cNvPr>
          <p:cNvSpPr>
            <a:spLocks noGrp="1"/>
          </p:cNvSpPr>
          <p:nvPr>
            <p:ph type="body" sz="quarter" idx="50" hasCustomPrompt="1"/>
          </p:nvPr>
        </p:nvSpPr>
        <p:spPr>
          <a:xfrm>
            <a:off x="301503" y="5604741"/>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33" name="CVEmailRight_5">
            <a:extLst>
              <a:ext uri="{FF2B5EF4-FFF2-40B4-BE49-F238E27FC236}">
                <a16:creationId xmlns:a16="http://schemas.microsoft.com/office/drawing/2014/main" id="{D1FF2381-318C-439D-9852-3893C181C2FD}"/>
              </a:ext>
            </a:extLst>
          </p:cNvPr>
          <p:cNvSpPr>
            <a:spLocks noGrp="1"/>
          </p:cNvSpPr>
          <p:nvPr>
            <p:ph type="body" sz="quarter" idx="51" hasCustomPrompt="1"/>
          </p:nvPr>
        </p:nvSpPr>
        <p:spPr>
          <a:xfrm>
            <a:off x="298117" y="6019947"/>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34" name="CVNameRight_5">
            <a:extLst>
              <a:ext uri="{FF2B5EF4-FFF2-40B4-BE49-F238E27FC236}">
                <a16:creationId xmlns:a16="http://schemas.microsoft.com/office/drawing/2014/main" id="{50296751-A392-4A81-A090-588C7676A87A}"/>
              </a:ext>
            </a:extLst>
          </p:cNvPr>
          <p:cNvSpPr>
            <a:spLocks noGrp="1"/>
          </p:cNvSpPr>
          <p:nvPr>
            <p:ph type="body" sz="quarter" idx="52" hasCustomPrompt="1"/>
          </p:nvPr>
        </p:nvSpPr>
        <p:spPr>
          <a:xfrm>
            <a:off x="301503" y="5397298"/>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35" name="CVMobileRight_5">
            <a:extLst>
              <a:ext uri="{FF2B5EF4-FFF2-40B4-BE49-F238E27FC236}">
                <a16:creationId xmlns:a16="http://schemas.microsoft.com/office/drawing/2014/main" id="{0399513A-5974-49B1-80EE-EF8EFE426366}"/>
              </a:ext>
            </a:extLst>
          </p:cNvPr>
          <p:cNvSpPr>
            <a:spLocks noGrp="1"/>
          </p:cNvSpPr>
          <p:nvPr>
            <p:ph type="body" sz="quarter" idx="53" hasCustomPrompt="1"/>
          </p:nvPr>
        </p:nvSpPr>
        <p:spPr>
          <a:xfrm>
            <a:off x="298117" y="5809812"/>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53" name="CVPictureRight_2">
            <a:extLst>
              <a:ext uri="{FF2B5EF4-FFF2-40B4-BE49-F238E27FC236}">
                <a16:creationId xmlns:a16="http://schemas.microsoft.com/office/drawing/2014/main" id="{A0AF061D-F662-439B-889A-22B1B744643E}"/>
              </a:ext>
            </a:extLst>
          </p:cNvPr>
          <p:cNvSpPr>
            <a:spLocks noGrp="1"/>
          </p:cNvSpPr>
          <p:nvPr>
            <p:ph type="pic" sz="quarter" idx="54" hasCustomPrompt="1"/>
          </p:nvPr>
        </p:nvSpPr>
        <p:spPr>
          <a:xfrm>
            <a:off x="315612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54" name="CVTitleRight_2">
            <a:extLst>
              <a:ext uri="{FF2B5EF4-FFF2-40B4-BE49-F238E27FC236}">
                <a16:creationId xmlns:a16="http://schemas.microsoft.com/office/drawing/2014/main" id="{810C8134-FBB0-46F0-8893-DC77FEA09A03}"/>
              </a:ext>
            </a:extLst>
          </p:cNvPr>
          <p:cNvSpPr>
            <a:spLocks noGrp="1"/>
          </p:cNvSpPr>
          <p:nvPr>
            <p:ph type="body" sz="quarter" idx="55" hasCustomPrompt="1"/>
          </p:nvPr>
        </p:nvSpPr>
        <p:spPr>
          <a:xfrm>
            <a:off x="3156129" y="2952367"/>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55" name="CVEmailRight_2">
            <a:extLst>
              <a:ext uri="{FF2B5EF4-FFF2-40B4-BE49-F238E27FC236}">
                <a16:creationId xmlns:a16="http://schemas.microsoft.com/office/drawing/2014/main" id="{8B2F8FFB-D1F2-4B1D-926E-89D46ADCE163}"/>
              </a:ext>
            </a:extLst>
          </p:cNvPr>
          <p:cNvSpPr>
            <a:spLocks noGrp="1"/>
          </p:cNvSpPr>
          <p:nvPr>
            <p:ph type="body" sz="quarter" idx="56" hasCustomPrompt="1"/>
          </p:nvPr>
        </p:nvSpPr>
        <p:spPr>
          <a:xfrm>
            <a:off x="3152743" y="3367573"/>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56" name="CVNameRight_2">
            <a:extLst>
              <a:ext uri="{FF2B5EF4-FFF2-40B4-BE49-F238E27FC236}">
                <a16:creationId xmlns:a16="http://schemas.microsoft.com/office/drawing/2014/main" id="{AA3E69BF-AB21-47AE-BA24-C5796CB6B2C8}"/>
              </a:ext>
            </a:extLst>
          </p:cNvPr>
          <p:cNvSpPr>
            <a:spLocks noGrp="1"/>
          </p:cNvSpPr>
          <p:nvPr>
            <p:ph type="body" sz="quarter" idx="57" hasCustomPrompt="1"/>
          </p:nvPr>
        </p:nvSpPr>
        <p:spPr>
          <a:xfrm>
            <a:off x="3156129" y="2744924"/>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57" name="CVMobileRight_2">
            <a:extLst>
              <a:ext uri="{FF2B5EF4-FFF2-40B4-BE49-F238E27FC236}">
                <a16:creationId xmlns:a16="http://schemas.microsoft.com/office/drawing/2014/main" id="{7104F3F2-2277-4D1B-B279-DAF126D870F2}"/>
              </a:ext>
            </a:extLst>
          </p:cNvPr>
          <p:cNvSpPr>
            <a:spLocks noGrp="1"/>
          </p:cNvSpPr>
          <p:nvPr>
            <p:ph type="body" sz="quarter" idx="58" hasCustomPrompt="1"/>
          </p:nvPr>
        </p:nvSpPr>
        <p:spPr>
          <a:xfrm>
            <a:off x="3152743" y="3157438"/>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58" name="CVPictureRight_6">
            <a:extLst>
              <a:ext uri="{FF2B5EF4-FFF2-40B4-BE49-F238E27FC236}">
                <a16:creationId xmlns:a16="http://schemas.microsoft.com/office/drawing/2014/main" id="{AB6E546A-7061-4D9E-98F6-D4A8156379FD}"/>
              </a:ext>
            </a:extLst>
          </p:cNvPr>
          <p:cNvSpPr>
            <a:spLocks noGrp="1"/>
          </p:cNvSpPr>
          <p:nvPr>
            <p:ph type="pic" sz="quarter" idx="59" hasCustomPrompt="1"/>
          </p:nvPr>
        </p:nvSpPr>
        <p:spPr>
          <a:xfrm>
            <a:off x="3160123"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59" name="CVTitleRight_6">
            <a:extLst>
              <a:ext uri="{FF2B5EF4-FFF2-40B4-BE49-F238E27FC236}">
                <a16:creationId xmlns:a16="http://schemas.microsoft.com/office/drawing/2014/main" id="{C6A576BD-8219-4348-9D33-2E83E265D279}"/>
              </a:ext>
            </a:extLst>
          </p:cNvPr>
          <p:cNvSpPr>
            <a:spLocks noGrp="1"/>
          </p:cNvSpPr>
          <p:nvPr>
            <p:ph type="body" sz="quarter" idx="60" hasCustomPrompt="1"/>
          </p:nvPr>
        </p:nvSpPr>
        <p:spPr>
          <a:xfrm>
            <a:off x="3156129" y="5604741"/>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60" name="CVEmailRight_6">
            <a:extLst>
              <a:ext uri="{FF2B5EF4-FFF2-40B4-BE49-F238E27FC236}">
                <a16:creationId xmlns:a16="http://schemas.microsoft.com/office/drawing/2014/main" id="{8C8F6D87-75AF-4757-B2C2-F4C47170B6F0}"/>
              </a:ext>
            </a:extLst>
          </p:cNvPr>
          <p:cNvSpPr>
            <a:spLocks noGrp="1"/>
          </p:cNvSpPr>
          <p:nvPr>
            <p:ph type="body" sz="quarter" idx="61" hasCustomPrompt="1"/>
          </p:nvPr>
        </p:nvSpPr>
        <p:spPr>
          <a:xfrm>
            <a:off x="3152743" y="6019947"/>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61" name="CVNameRight_6">
            <a:extLst>
              <a:ext uri="{FF2B5EF4-FFF2-40B4-BE49-F238E27FC236}">
                <a16:creationId xmlns:a16="http://schemas.microsoft.com/office/drawing/2014/main" id="{0134F5A7-2343-48A0-8903-40ACB9146AE2}"/>
              </a:ext>
            </a:extLst>
          </p:cNvPr>
          <p:cNvSpPr>
            <a:spLocks noGrp="1"/>
          </p:cNvSpPr>
          <p:nvPr>
            <p:ph type="body" sz="quarter" idx="62" hasCustomPrompt="1"/>
          </p:nvPr>
        </p:nvSpPr>
        <p:spPr>
          <a:xfrm>
            <a:off x="3156129" y="5397298"/>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62" name="CVMobileRight_6">
            <a:extLst>
              <a:ext uri="{FF2B5EF4-FFF2-40B4-BE49-F238E27FC236}">
                <a16:creationId xmlns:a16="http://schemas.microsoft.com/office/drawing/2014/main" id="{DA27E4A0-248A-4C5F-8905-43B21D652E52}"/>
              </a:ext>
            </a:extLst>
          </p:cNvPr>
          <p:cNvSpPr>
            <a:spLocks noGrp="1"/>
          </p:cNvSpPr>
          <p:nvPr>
            <p:ph type="body" sz="quarter" idx="63" hasCustomPrompt="1"/>
          </p:nvPr>
        </p:nvSpPr>
        <p:spPr>
          <a:xfrm>
            <a:off x="3152743" y="5809812"/>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63" name="CVPictureRight_3">
            <a:extLst>
              <a:ext uri="{FF2B5EF4-FFF2-40B4-BE49-F238E27FC236}">
                <a16:creationId xmlns:a16="http://schemas.microsoft.com/office/drawing/2014/main" id="{7EF94D38-20F6-462E-A743-48DB2C5EBDEC}"/>
              </a:ext>
            </a:extLst>
          </p:cNvPr>
          <p:cNvSpPr>
            <a:spLocks noGrp="1"/>
          </p:cNvSpPr>
          <p:nvPr>
            <p:ph type="pic" sz="quarter" idx="64" hasCustomPrompt="1"/>
          </p:nvPr>
        </p:nvSpPr>
        <p:spPr>
          <a:xfrm>
            <a:off x="6012220"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64" name="CVTitleRight_3">
            <a:extLst>
              <a:ext uri="{FF2B5EF4-FFF2-40B4-BE49-F238E27FC236}">
                <a16:creationId xmlns:a16="http://schemas.microsoft.com/office/drawing/2014/main" id="{18E0C9D5-5E82-45AD-8A44-18EB258277E8}"/>
              </a:ext>
            </a:extLst>
          </p:cNvPr>
          <p:cNvSpPr>
            <a:spLocks noGrp="1"/>
          </p:cNvSpPr>
          <p:nvPr>
            <p:ph type="body" sz="quarter" idx="65" hasCustomPrompt="1"/>
          </p:nvPr>
        </p:nvSpPr>
        <p:spPr>
          <a:xfrm>
            <a:off x="6012220" y="2952367"/>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65" name="CVEmailRight_3">
            <a:extLst>
              <a:ext uri="{FF2B5EF4-FFF2-40B4-BE49-F238E27FC236}">
                <a16:creationId xmlns:a16="http://schemas.microsoft.com/office/drawing/2014/main" id="{C646FD9E-CEBB-4F0E-82EF-E440E27664CB}"/>
              </a:ext>
            </a:extLst>
          </p:cNvPr>
          <p:cNvSpPr>
            <a:spLocks noGrp="1"/>
          </p:cNvSpPr>
          <p:nvPr>
            <p:ph type="body" sz="quarter" idx="66" hasCustomPrompt="1"/>
          </p:nvPr>
        </p:nvSpPr>
        <p:spPr>
          <a:xfrm>
            <a:off x="6008834" y="3367573"/>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66" name="CVNameRight_3">
            <a:extLst>
              <a:ext uri="{FF2B5EF4-FFF2-40B4-BE49-F238E27FC236}">
                <a16:creationId xmlns:a16="http://schemas.microsoft.com/office/drawing/2014/main" id="{8FA04FD2-7D52-4BFC-A421-3623E59A989B}"/>
              </a:ext>
            </a:extLst>
          </p:cNvPr>
          <p:cNvSpPr>
            <a:spLocks noGrp="1"/>
          </p:cNvSpPr>
          <p:nvPr>
            <p:ph type="body" sz="quarter" idx="67" hasCustomPrompt="1"/>
          </p:nvPr>
        </p:nvSpPr>
        <p:spPr>
          <a:xfrm>
            <a:off x="6012220" y="2744924"/>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67" name="CVMobileRight_3">
            <a:extLst>
              <a:ext uri="{FF2B5EF4-FFF2-40B4-BE49-F238E27FC236}">
                <a16:creationId xmlns:a16="http://schemas.microsoft.com/office/drawing/2014/main" id="{A74E56E5-6E75-4F23-B570-B1257F61E7ED}"/>
              </a:ext>
            </a:extLst>
          </p:cNvPr>
          <p:cNvSpPr>
            <a:spLocks noGrp="1"/>
          </p:cNvSpPr>
          <p:nvPr>
            <p:ph type="body" sz="quarter" idx="68" hasCustomPrompt="1"/>
          </p:nvPr>
        </p:nvSpPr>
        <p:spPr>
          <a:xfrm>
            <a:off x="6008834" y="3157438"/>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68" name="CVPictureRight_7">
            <a:extLst>
              <a:ext uri="{FF2B5EF4-FFF2-40B4-BE49-F238E27FC236}">
                <a16:creationId xmlns:a16="http://schemas.microsoft.com/office/drawing/2014/main" id="{312E7BD3-B2CB-4519-84A8-4B85A03E13DB}"/>
              </a:ext>
            </a:extLst>
          </p:cNvPr>
          <p:cNvSpPr>
            <a:spLocks noGrp="1"/>
          </p:cNvSpPr>
          <p:nvPr>
            <p:ph type="pic" sz="quarter" idx="69" hasCustomPrompt="1"/>
          </p:nvPr>
        </p:nvSpPr>
        <p:spPr>
          <a:xfrm>
            <a:off x="6016214"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69" name="CVTitleRight_7">
            <a:extLst>
              <a:ext uri="{FF2B5EF4-FFF2-40B4-BE49-F238E27FC236}">
                <a16:creationId xmlns:a16="http://schemas.microsoft.com/office/drawing/2014/main" id="{AF8E3958-EDD3-4CD3-9EC9-F6C0A95E8EC5}"/>
              </a:ext>
            </a:extLst>
          </p:cNvPr>
          <p:cNvSpPr>
            <a:spLocks noGrp="1"/>
          </p:cNvSpPr>
          <p:nvPr>
            <p:ph type="body" sz="quarter" idx="70" hasCustomPrompt="1"/>
          </p:nvPr>
        </p:nvSpPr>
        <p:spPr>
          <a:xfrm>
            <a:off x="6012220" y="5604741"/>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70" name="CVEmailRight_7">
            <a:extLst>
              <a:ext uri="{FF2B5EF4-FFF2-40B4-BE49-F238E27FC236}">
                <a16:creationId xmlns:a16="http://schemas.microsoft.com/office/drawing/2014/main" id="{0FFA1116-D0A7-4495-AE0A-D214E022EC05}"/>
              </a:ext>
            </a:extLst>
          </p:cNvPr>
          <p:cNvSpPr>
            <a:spLocks noGrp="1"/>
          </p:cNvSpPr>
          <p:nvPr>
            <p:ph type="body" sz="quarter" idx="71" hasCustomPrompt="1"/>
          </p:nvPr>
        </p:nvSpPr>
        <p:spPr>
          <a:xfrm>
            <a:off x="6008834" y="6019947"/>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71" name="CVNameRight_7">
            <a:extLst>
              <a:ext uri="{FF2B5EF4-FFF2-40B4-BE49-F238E27FC236}">
                <a16:creationId xmlns:a16="http://schemas.microsoft.com/office/drawing/2014/main" id="{042B6A07-B505-47DE-9582-A54830E73DF5}"/>
              </a:ext>
            </a:extLst>
          </p:cNvPr>
          <p:cNvSpPr>
            <a:spLocks noGrp="1"/>
          </p:cNvSpPr>
          <p:nvPr>
            <p:ph type="body" sz="quarter" idx="72" hasCustomPrompt="1"/>
          </p:nvPr>
        </p:nvSpPr>
        <p:spPr>
          <a:xfrm>
            <a:off x="6012220" y="5397298"/>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72" name="CVMobileRight_7">
            <a:extLst>
              <a:ext uri="{FF2B5EF4-FFF2-40B4-BE49-F238E27FC236}">
                <a16:creationId xmlns:a16="http://schemas.microsoft.com/office/drawing/2014/main" id="{7F901BA4-DF09-4215-B954-B356B34CE606}"/>
              </a:ext>
            </a:extLst>
          </p:cNvPr>
          <p:cNvSpPr>
            <a:spLocks noGrp="1"/>
          </p:cNvSpPr>
          <p:nvPr>
            <p:ph type="body" sz="quarter" idx="73" hasCustomPrompt="1"/>
          </p:nvPr>
        </p:nvSpPr>
        <p:spPr>
          <a:xfrm>
            <a:off x="6008834" y="5809812"/>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73" name="CVPictureRight_4">
            <a:extLst>
              <a:ext uri="{FF2B5EF4-FFF2-40B4-BE49-F238E27FC236}">
                <a16:creationId xmlns:a16="http://schemas.microsoft.com/office/drawing/2014/main" id="{2D916EF1-9F55-460D-8C2B-DB40CE9EF9A1}"/>
              </a:ext>
            </a:extLst>
          </p:cNvPr>
          <p:cNvSpPr>
            <a:spLocks noGrp="1"/>
          </p:cNvSpPr>
          <p:nvPr>
            <p:ph type="pic" sz="quarter" idx="74" hasCustomPrompt="1"/>
          </p:nvPr>
        </p:nvSpPr>
        <p:spPr>
          <a:xfrm>
            <a:off x="8868310"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74" name="CVTitleRight_4">
            <a:extLst>
              <a:ext uri="{FF2B5EF4-FFF2-40B4-BE49-F238E27FC236}">
                <a16:creationId xmlns:a16="http://schemas.microsoft.com/office/drawing/2014/main" id="{9289DC46-0A4D-43C4-9E22-76C86241B060}"/>
              </a:ext>
            </a:extLst>
          </p:cNvPr>
          <p:cNvSpPr>
            <a:spLocks noGrp="1"/>
          </p:cNvSpPr>
          <p:nvPr>
            <p:ph type="body" sz="quarter" idx="75" hasCustomPrompt="1"/>
          </p:nvPr>
        </p:nvSpPr>
        <p:spPr>
          <a:xfrm>
            <a:off x="8864316" y="2952367"/>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75" name="CVEmailRight_4">
            <a:extLst>
              <a:ext uri="{FF2B5EF4-FFF2-40B4-BE49-F238E27FC236}">
                <a16:creationId xmlns:a16="http://schemas.microsoft.com/office/drawing/2014/main" id="{6E9033D9-86CB-4209-9346-D3C5682B68A9}"/>
              </a:ext>
            </a:extLst>
          </p:cNvPr>
          <p:cNvSpPr>
            <a:spLocks noGrp="1"/>
          </p:cNvSpPr>
          <p:nvPr>
            <p:ph type="body" sz="quarter" idx="76" hasCustomPrompt="1"/>
          </p:nvPr>
        </p:nvSpPr>
        <p:spPr>
          <a:xfrm>
            <a:off x="8860930" y="3367573"/>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76" name="CVNameRight_4">
            <a:extLst>
              <a:ext uri="{FF2B5EF4-FFF2-40B4-BE49-F238E27FC236}">
                <a16:creationId xmlns:a16="http://schemas.microsoft.com/office/drawing/2014/main" id="{780F8134-610D-41DC-818D-99A09E6E4688}"/>
              </a:ext>
            </a:extLst>
          </p:cNvPr>
          <p:cNvSpPr>
            <a:spLocks noGrp="1"/>
          </p:cNvSpPr>
          <p:nvPr>
            <p:ph type="body" sz="quarter" idx="77" hasCustomPrompt="1"/>
          </p:nvPr>
        </p:nvSpPr>
        <p:spPr>
          <a:xfrm>
            <a:off x="8864316" y="2744924"/>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77" name="CVMobileRight_4">
            <a:extLst>
              <a:ext uri="{FF2B5EF4-FFF2-40B4-BE49-F238E27FC236}">
                <a16:creationId xmlns:a16="http://schemas.microsoft.com/office/drawing/2014/main" id="{02D3F91E-46D0-43D7-94FE-09ED4D326507}"/>
              </a:ext>
            </a:extLst>
          </p:cNvPr>
          <p:cNvSpPr>
            <a:spLocks noGrp="1"/>
          </p:cNvSpPr>
          <p:nvPr>
            <p:ph type="body" sz="quarter" idx="78" hasCustomPrompt="1"/>
          </p:nvPr>
        </p:nvSpPr>
        <p:spPr>
          <a:xfrm>
            <a:off x="8860930" y="3157438"/>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78" name="CVPictureRight_8">
            <a:extLst>
              <a:ext uri="{FF2B5EF4-FFF2-40B4-BE49-F238E27FC236}">
                <a16:creationId xmlns:a16="http://schemas.microsoft.com/office/drawing/2014/main" id="{738C0D29-FEAF-4E99-886A-2E5893FFD805}"/>
              </a:ext>
            </a:extLst>
          </p:cNvPr>
          <p:cNvSpPr>
            <a:spLocks noGrp="1"/>
          </p:cNvSpPr>
          <p:nvPr>
            <p:ph type="pic" sz="quarter" idx="79" hasCustomPrompt="1"/>
          </p:nvPr>
        </p:nvSpPr>
        <p:spPr>
          <a:xfrm>
            <a:off x="8868310"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79" name="CVTitleRight_8">
            <a:extLst>
              <a:ext uri="{FF2B5EF4-FFF2-40B4-BE49-F238E27FC236}">
                <a16:creationId xmlns:a16="http://schemas.microsoft.com/office/drawing/2014/main" id="{1CDF30F6-59F8-464B-B6AB-7BC0E48CD137}"/>
              </a:ext>
            </a:extLst>
          </p:cNvPr>
          <p:cNvSpPr>
            <a:spLocks noGrp="1"/>
          </p:cNvSpPr>
          <p:nvPr>
            <p:ph type="body" sz="quarter" idx="80" hasCustomPrompt="1"/>
          </p:nvPr>
        </p:nvSpPr>
        <p:spPr>
          <a:xfrm>
            <a:off x="8864316" y="5604741"/>
            <a:ext cx="2340801"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80" name="CVEmailRight_8">
            <a:extLst>
              <a:ext uri="{FF2B5EF4-FFF2-40B4-BE49-F238E27FC236}">
                <a16:creationId xmlns:a16="http://schemas.microsoft.com/office/drawing/2014/main" id="{39AE0354-457E-47D2-A008-11CC164926CA}"/>
              </a:ext>
            </a:extLst>
          </p:cNvPr>
          <p:cNvSpPr>
            <a:spLocks noGrp="1"/>
          </p:cNvSpPr>
          <p:nvPr>
            <p:ph type="body" sz="quarter" idx="81" hasCustomPrompt="1"/>
          </p:nvPr>
        </p:nvSpPr>
        <p:spPr>
          <a:xfrm>
            <a:off x="8860930" y="6019947"/>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81" name="CVNameRight_8">
            <a:extLst>
              <a:ext uri="{FF2B5EF4-FFF2-40B4-BE49-F238E27FC236}">
                <a16:creationId xmlns:a16="http://schemas.microsoft.com/office/drawing/2014/main" id="{A3399160-3851-4864-AD50-8762A5A934AA}"/>
              </a:ext>
            </a:extLst>
          </p:cNvPr>
          <p:cNvSpPr>
            <a:spLocks noGrp="1"/>
          </p:cNvSpPr>
          <p:nvPr>
            <p:ph type="body" sz="quarter" idx="82" hasCustomPrompt="1"/>
          </p:nvPr>
        </p:nvSpPr>
        <p:spPr>
          <a:xfrm>
            <a:off x="8864316" y="5397298"/>
            <a:ext cx="2340801"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82" name="CVMobileRight_8">
            <a:extLst>
              <a:ext uri="{FF2B5EF4-FFF2-40B4-BE49-F238E27FC236}">
                <a16:creationId xmlns:a16="http://schemas.microsoft.com/office/drawing/2014/main" id="{CB4A093E-9AA3-4FB6-8196-429F2CB92BB8}"/>
              </a:ext>
            </a:extLst>
          </p:cNvPr>
          <p:cNvSpPr>
            <a:spLocks noGrp="1"/>
          </p:cNvSpPr>
          <p:nvPr>
            <p:ph type="body" sz="quarter" idx="83" hasCustomPrompt="1"/>
          </p:nvPr>
        </p:nvSpPr>
        <p:spPr>
          <a:xfrm>
            <a:off x="8860930" y="5809812"/>
            <a:ext cx="2340801"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Tree>
    <p:extLst>
      <p:ext uri="{BB962C8B-B14F-4D97-AF65-F5344CB8AC3E}">
        <p14:creationId xmlns:p14="http://schemas.microsoft.com/office/powerpoint/2010/main" val="1373319620"/>
      </p:ext>
    </p:extLst>
  </p:cSld>
  <p:clrMapOvr>
    <a:masterClrMapping/>
  </p:clrMapOvr>
  <p:extLst>
    <p:ext uri="{DCECCB84-F9BA-43D5-87BE-67443E8EF086}">
      <p15:sldGuideLst xmlns:p15="http://schemas.microsoft.com/office/powerpoint/2012/main">
        <p15:guide id="1" pos="3840">
          <p15:clr>
            <a:srgbClr val="FBAE40"/>
          </p15:clr>
        </p15:guide>
        <p15:guide id="2" orient="horz" pos="2341">
          <p15:clr>
            <a:srgbClr val="FBAE40"/>
          </p15:clr>
        </p15:guide>
        <p15:guide id="3" pos="3659">
          <p15:clr>
            <a:srgbClr val="FBAE40"/>
          </p15:clr>
        </p15:guide>
        <p15:guide id="4" pos="4021">
          <p15:clr>
            <a:srgbClr val="FBAE40"/>
          </p15:clr>
        </p15:guide>
        <p15:guide id="5" pos="5790">
          <p15:clr>
            <a:srgbClr val="FBAE40"/>
          </p15:clr>
        </p15:guide>
        <p15:guide id="6" pos="7061">
          <p15:clr>
            <a:srgbClr val="FBAE40"/>
          </p15:clr>
        </p15:guide>
        <p15:guide id="7" pos="7491">
          <p15:clr>
            <a:srgbClr val="FBAE40"/>
          </p15:clr>
        </p15:guide>
        <p15:guide id="8" pos="619">
          <p15:clr>
            <a:srgbClr val="FBAE40"/>
          </p15:clr>
        </p15:guide>
        <p15:guide id="9" pos="189">
          <p15:clr>
            <a:srgbClr val="FBAE40"/>
          </p15:clr>
        </p15:guide>
        <p15:guide id="10" orient="horz" pos="709">
          <p15:clr>
            <a:srgbClr val="FBAE40"/>
          </p15:clr>
        </p15:guide>
        <p15:guide id="11" orient="horz" pos="187">
          <p15:clr>
            <a:srgbClr val="FBAE40"/>
          </p15:clr>
        </p15:guide>
        <p15:guide id="12" orient="horz" pos="397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V 9 per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_1"/>
          <p:cNvSpPr>
            <a:spLocks noGrp="1"/>
          </p:cNvSpPr>
          <p:nvPr>
            <p:ph type="pic" sz="quarter" idx="13" hasCustomPrompt="1"/>
          </p:nvPr>
        </p:nvSpPr>
        <p:spPr>
          <a:xfrm>
            <a:off x="30003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9" name="CVTitleRight_1"/>
          <p:cNvSpPr>
            <a:spLocks noGrp="1"/>
          </p:cNvSpPr>
          <p:nvPr>
            <p:ph type="body" sz="quarter" idx="14" hasCustomPrompt="1"/>
          </p:nvPr>
        </p:nvSpPr>
        <p:spPr>
          <a:xfrm>
            <a:off x="1667509" y="1390916"/>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2" name="CVTelephoneRight_1"/>
          <p:cNvSpPr>
            <a:spLocks noGrp="1"/>
          </p:cNvSpPr>
          <p:nvPr>
            <p:ph type="body" sz="quarter" idx="17" hasCustomPrompt="1"/>
          </p:nvPr>
        </p:nvSpPr>
        <p:spPr>
          <a:xfrm>
            <a:off x="1664123" y="206027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3" name="CVEmailRight_1"/>
          <p:cNvSpPr>
            <a:spLocks noGrp="1"/>
          </p:cNvSpPr>
          <p:nvPr>
            <p:ph type="body" sz="quarter" idx="19" hasCustomPrompt="1"/>
          </p:nvPr>
        </p:nvSpPr>
        <p:spPr>
          <a:xfrm>
            <a:off x="1664123" y="249772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6" name="CVSubTitleRight_1"/>
          <p:cNvSpPr>
            <a:spLocks noGrp="1"/>
          </p:cNvSpPr>
          <p:nvPr>
            <p:ph type="body" sz="quarter" idx="23" hasCustomPrompt="1"/>
          </p:nvPr>
        </p:nvSpPr>
        <p:spPr>
          <a:xfrm>
            <a:off x="1667509" y="1607223"/>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22" name="CVNameRight_1"/>
          <p:cNvSpPr>
            <a:spLocks noGrp="1"/>
          </p:cNvSpPr>
          <p:nvPr>
            <p:ph type="body" sz="quarter" idx="27" hasCustomPrompt="1"/>
          </p:nvPr>
        </p:nvSpPr>
        <p:spPr>
          <a:xfrm>
            <a:off x="1667509" y="1130765"/>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24" name="CVMobileRight_1"/>
          <p:cNvSpPr>
            <a:spLocks noGrp="1"/>
          </p:cNvSpPr>
          <p:nvPr>
            <p:ph type="body" sz="quarter" idx="28" hasCustomPrompt="1"/>
          </p:nvPr>
        </p:nvSpPr>
        <p:spPr>
          <a:xfrm>
            <a:off x="1664123" y="2281413"/>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48" name="CVPictureRight_4">
            <a:extLst>
              <a:ext uri="{FF2B5EF4-FFF2-40B4-BE49-F238E27FC236}">
                <a16:creationId xmlns:a16="http://schemas.microsoft.com/office/drawing/2014/main" id="{FD9B28B5-9675-480C-8651-06C6592B644A}"/>
              </a:ext>
            </a:extLst>
          </p:cNvPr>
          <p:cNvSpPr>
            <a:spLocks noGrp="1"/>
          </p:cNvSpPr>
          <p:nvPr>
            <p:ph type="pic" sz="quarter" idx="29" hasCustomPrompt="1"/>
          </p:nvPr>
        </p:nvSpPr>
        <p:spPr>
          <a:xfrm>
            <a:off x="300039" y="295968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49" name="CVTitleRight_4">
            <a:extLst>
              <a:ext uri="{FF2B5EF4-FFF2-40B4-BE49-F238E27FC236}">
                <a16:creationId xmlns:a16="http://schemas.microsoft.com/office/drawing/2014/main" id="{2A084C5F-9CF3-4E7F-A3DC-643A31A90337}"/>
              </a:ext>
            </a:extLst>
          </p:cNvPr>
          <p:cNvSpPr>
            <a:spLocks noGrp="1"/>
          </p:cNvSpPr>
          <p:nvPr>
            <p:ph type="body" sz="quarter" idx="30" hasCustomPrompt="1"/>
          </p:nvPr>
        </p:nvSpPr>
        <p:spPr>
          <a:xfrm>
            <a:off x="1667509" y="322506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50" name="CVTelephoneRight_4">
            <a:extLst>
              <a:ext uri="{FF2B5EF4-FFF2-40B4-BE49-F238E27FC236}">
                <a16:creationId xmlns:a16="http://schemas.microsoft.com/office/drawing/2014/main" id="{656C6F36-F11A-4DBC-9D76-F6962DA7EDD3}"/>
              </a:ext>
            </a:extLst>
          </p:cNvPr>
          <p:cNvSpPr>
            <a:spLocks noGrp="1"/>
          </p:cNvSpPr>
          <p:nvPr>
            <p:ph type="body" sz="quarter" idx="31" hasCustomPrompt="1"/>
          </p:nvPr>
        </p:nvSpPr>
        <p:spPr>
          <a:xfrm>
            <a:off x="1664123" y="389442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51" name="CVEmailRight_4">
            <a:extLst>
              <a:ext uri="{FF2B5EF4-FFF2-40B4-BE49-F238E27FC236}">
                <a16:creationId xmlns:a16="http://schemas.microsoft.com/office/drawing/2014/main" id="{B96CEFFD-81DE-459E-AE38-ABEBD39A3317}"/>
              </a:ext>
            </a:extLst>
          </p:cNvPr>
          <p:cNvSpPr>
            <a:spLocks noGrp="1"/>
          </p:cNvSpPr>
          <p:nvPr>
            <p:ph type="body" sz="quarter" idx="32" hasCustomPrompt="1"/>
          </p:nvPr>
        </p:nvSpPr>
        <p:spPr>
          <a:xfrm>
            <a:off x="1664123" y="433186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52" name="CVSubTitleRight_4">
            <a:extLst>
              <a:ext uri="{FF2B5EF4-FFF2-40B4-BE49-F238E27FC236}">
                <a16:creationId xmlns:a16="http://schemas.microsoft.com/office/drawing/2014/main" id="{860B622E-ED15-48CD-B6A9-B7B4E4A74CD8}"/>
              </a:ext>
            </a:extLst>
          </p:cNvPr>
          <p:cNvSpPr>
            <a:spLocks noGrp="1"/>
          </p:cNvSpPr>
          <p:nvPr>
            <p:ph type="body" sz="quarter" idx="33" hasCustomPrompt="1"/>
          </p:nvPr>
        </p:nvSpPr>
        <p:spPr>
          <a:xfrm>
            <a:off x="1667509" y="344137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53" name="CVNameRight_4">
            <a:extLst>
              <a:ext uri="{FF2B5EF4-FFF2-40B4-BE49-F238E27FC236}">
                <a16:creationId xmlns:a16="http://schemas.microsoft.com/office/drawing/2014/main" id="{2BD59E18-D5B4-4489-A1B6-8B8CAB526C5F}"/>
              </a:ext>
            </a:extLst>
          </p:cNvPr>
          <p:cNvSpPr>
            <a:spLocks noGrp="1"/>
          </p:cNvSpPr>
          <p:nvPr>
            <p:ph type="body" sz="quarter" idx="34" hasCustomPrompt="1"/>
          </p:nvPr>
        </p:nvSpPr>
        <p:spPr>
          <a:xfrm>
            <a:off x="1667509" y="296491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54" name="CVMobileRight_4">
            <a:extLst>
              <a:ext uri="{FF2B5EF4-FFF2-40B4-BE49-F238E27FC236}">
                <a16:creationId xmlns:a16="http://schemas.microsoft.com/office/drawing/2014/main" id="{FEF2C1C9-6EEB-4600-BEA9-637264DC9282}"/>
              </a:ext>
            </a:extLst>
          </p:cNvPr>
          <p:cNvSpPr>
            <a:spLocks noGrp="1"/>
          </p:cNvSpPr>
          <p:nvPr>
            <p:ph type="body" sz="quarter" idx="35" hasCustomPrompt="1"/>
          </p:nvPr>
        </p:nvSpPr>
        <p:spPr>
          <a:xfrm>
            <a:off x="1664123" y="411556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55" name="CVPictureRight_7">
            <a:extLst>
              <a:ext uri="{FF2B5EF4-FFF2-40B4-BE49-F238E27FC236}">
                <a16:creationId xmlns:a16="http://schemas.microsoft.com/office/drawing/2014/main" id="{A493522D-9FA6-4255-B379-09868FC437A0}"/>
              </a:ext>
            </a:extLst>
          </p:cNvPr>
          <p:cNvSpPr>
            <a:spLocks noGrp="1"/>
          </p:cNvSpPr>
          <p:nvPr>
            <p:ph type="pic" sz="quarter" idx="36" hasCustomPrompt="1"/>
          </p:nvPr>
        </p:nvSpPr>
        <p:spPr>
          <a:xfrm>
            <a:off x="300039" y="478620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56" name="CVTitleRight_7">
            <a:extLst>
              <a:ext uri="{FF2B5EF4-FFF2-40B4-BE49-F238E27FC236}">
                <a16:creationId xmlns:a16="http://schemas.microsoft.com/office/drawing/2014/main" id="{B197B104-7F60-448E-9D2E-D865B6130B01}"/>
              </a:ext>
            </a:extLst>
          </p:cNvPr>
          <p:cNvSpPr>
            <a:spLocks noGrp="1"/>
          </p:cNvSpPr>
          <p:nvPr>
            <p:ph type="body" sz="quarter" idx="37" hasCustomPrompt="1"/>
          </p:nvPr>
        </p:nvSpPr>
        <p:spPr>
          <a:xfrm>
            <a:off x="1667509" y="505158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57" name="CVTelephoneRight_7">
            <a:extLst>
              <a:ext uri="{FF2B5EF4-FFF2-40B4-BE49-F238E27FC236}">
                <a16:creationId xmlns:a16="http://schemas.microsoft.com/office/drawing/2014/main" id="{8107464A-C330-4576-8BD6-292239D92768}"/>
              </a:ext>
            </a:extLst>
          </p:cNvPr>
          <p:cNvSpPr>
            <a:spLocks noGrp="1"/>
          </p:cNvSpPr>
          <p:nvPr>
            <p:ph type="body" sz="quarter" idx="38" hasCustomPrompt="1"/>
          </p:nvPr>
        </p:nvSpPr>
        <p:spPr>
          <a:xfrm>
            <a:off x="1664123" y="572094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58" name="CVEmailRight_7">
            <a:extLst>
              <a:ext uri="{FF2B5EF4-FFF2-40B4-BE49-F238E27FC236}">
                <a16:creationId xmlns:a16="http://schemas.microsoft.com/office/drawing/2014/main" id="{4FEA07E9-F73C-4444-957A-4813A1E6F670}"/>
              </a:ext>
            </a:extLst>
          </p:cNvPr>
          <p:cNvSpPr>
            <a:spLocks noGrp="1"/>
          </p:cNvSpPr>
          <p:nvPr>
            <p:ph type="body" sz="quarter" idx="39" hasCustomPrompt="1"/>
          </p:nvPr>
        </p:nvSpPr>
        <p:spPr>
          <a:xfrm>
            <a:off x="1664123" y="615838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59" name="CVSubTitleRight_7">
            <a:extLst>
              <a:ext uri="{FF2B5EF4-FFF2-40B4-BE49-F238E27FC236}">
                <a16:creationId xmlns:a16="http://schemas.microsoft.com/office/drawing/2014/main" id="{23649BE0-B930-406F-B161-0386F531297D}"/>
              </a:ext>
            </a:extLst>
          </p:cNvPr>
          <p:cNvSpPr>
            <a:spLocks noGrp="1"/>
          </p:cNvSpPr>
          <p:nvPr>
            <p:ph type="body" sz="quarter" idx="40" hasCustomPrompt="1"/>
          </p:nvPr>
        </p:nvSpPr>
        <p:spPr>
          <a:xfrm>
            <a:off x="1667509" y="526789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60" name="CVNameRight_7">
            <a:extLst>
              <a:ext uri="{FF2B5EF4-FFF2-40B4-BE49-F238E27FC236}">
                <a16:creationId xmlns:a16="http://schemas.microsoft.com/office/drawing/2014/main" id="{2BD0D119-59C8-451C-81C1-E6CAB141CA6D}"/>
              </a:ext>
            </a:extLst>
          </p:cNvPr>
          <p:cNvSpPr>
            <a:spLocks noGrp="1"/>
          </p:cNvSpPr>
          <p:nvPr>
            <p:ph type="body" sz="quarter" idx="41" hasCustomPrompt="1"/>
          </p:nvPr>
        </p:nvSpPr>
        <p:spPr>
          <a:xfrm>
            <a:off x="1667509" y="479143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61" name="CVMobileRight_7">
            <a:extLst>
              <a:ext uri="{FF2B5EF4-FFF2-40B4-BE49-F238E27FC236}">
                <a16:creationId xmlns:a16="http://schemas.microsoft.com/office/drawing/2014/main" id="{6777614A-CA83-4152-A6B9-A653109F903D}"/>
              </a:ext>
            </a:extLst>
          </p:cNvPr>
          <p:cNvSpPr>
            <a:spLocks noGrp="1"/>
          </p:cNvSpPr>
          <p:nvPr>
            <p:ph type="body" sz="quarter" idx="42" hasCustomPrompt="1"/>
          </p:nvPr>
        </p:nvSpPr>
        <p:spPr>
          <a:xfrm>
            <a:off x="1664123" y="594208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62" name="CVPictureRight_2">
            <a:extLst>
              <a:ext uri="{FF2B5EF4-FFF2-40B4-BE49-F238E27FC236}">
                <a16:creationId xmlns:a16="http://schemas.microsoft.com/office/drawing/2014/main" id="{DDB24D46-4700-42B1-8B2F-CB0A96500DA2}"/>
              </a:ext>
            </a:extLst>
          </p:cNvPr>
          <p:cNvSpPr>
            <a:spLocks noGrp="1"/>
          </p:cNvSpPr>
          <p:nvPr>
            <p:ph type="pic" sz="quarter" idx="43" hasCustomPrompt="1"/>
          </p:nvPr>
        </p:nvSpPr>
        <p:spPr>
          <a:xfrm>
            <a:off x="4275960"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63" name="CVTitleRight_2">
            <a:extLst>
              <a:ext uri="{FF2B5EF4-FFF2-40B4-BE49-F238E27FC236}">
                <a16:creationId xmlns:a16="http://schemas.microsoft.com/office/drawing/2014/main" id="{61914FC6-C7B2-4C14-BC51-9EF1266B236F}"/>
              </a:ext>
            </a:extLst>
          </p:cNvPr>
          <p:cNvSpPr>
            <a:spLocks noGrp="1"/>
          </p:cNvSpPr>
          <p:nvPr>
            <p:ph type="body" sz="quarter" idx="44" hasCustomPrompt="1"/>
          </p:nvPr>
        </p:nvSpPr>
        <p:spPr>
          <a:xfrm>
            <a:off x="5643430" y="1390916"/>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64" name="CVTelephoneRight_2">
            <a:extLst>
              <a:ext uri="{FF2B5EF4-FFF2-40B4-BE49-F238E27FC236}">
                <a16:creationId xmlns:a16="http://schemas.microsoft.com/office/drawing/2014/main" id="{6B8A3201-53E8-485F-A259-388A9746F83F}"/>
              </a:ext>
            </a:extLst>
          </p:cNvPr>
          <p:cNvSpPr>
            <a:spLocks noGrp="1"/>
          </p:cNvSpPr>
          <p:nvPr>
            <p:ph type="body" sz="quarter" idx="45" hasCustomPrompt="1"/>
          </p:nvPr>
        </p:nvSpPr>
        <p:spPr>
          <a:xfrm>
            <a:off x="5640044" y="206027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65" name="CVEmailRight_2">
            <a:extLst>
              <a:ext uri="{FF2B5EF4-FFF2-40B4-BE49-F238E27FC236}">
                <a16:creationId xmlns:a16="http://schemas.microsoft.com/office/drawing/2014/main" id="{CE794FFA-6876-44A9-9897-A4090B379312}"/>
              </a:ext>
            </a:extLst>
          </p:cNvPr>
          <p:cNvSpPr>
            <a:spLocks noGrp="1"/>
          </p:cNvSpPr>
          <p:nvPr>
            <p:ph type="body" sz="quarter" idx="46" hasCustomPrompt="1"/>
          </p:nvPr>
        </p:nvSpPr>
        <p:spPr>
          <a:xfrm>
            <a:off x="5640044" y="249772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66" name="CVSubTitleRight_2">
            <a:extLst>
              <a:ext uri="{FF2B5EF4-FFF2-40B4-BE49-F238E27FC236}">
                <a16:creationId xmlns:a16="http://schemas.microsoft.com/office/drawing/2014/main" id="{964C3DBA-7783-4FD7-8B87-B8044B24A47C}"/>
              </a:ext>
            </a:extLst>
          </p:cNvPr>
          <p:cNvSpPr>
            <a:spLocks noGrp="1"/>
          </p:cNvSpPr>
          <p:nvPr>
            <p:ph type="body" sz="quarter" idx="47" hasCustomPrompt="1"/>
          </p:nvPr>
        </p:nvSpPr>
        <p:spPr>
          <a:xfrm>
            <a:off x="5643430" y="1607223"/>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67" name="CVNameRight_2">
            <a:extLst>
              <a:ext uri="{FF2B5EF4-FFF2-40B4-BE49-F238E27FC236}">
                <a16:creationId xmlns:a16="http://schemas.microsoft.com/office/drawing/2014/main" id="{678BE00A-7A41-4AAC-A23F-92F155741042}"/>
              </a:ext>
            </a:extLst>
          </p:cNvPr>
          <p:cNvSpPr>
            <a:spLocks noGrp="1"/>
          </p:cNvSpPr>
          <p:nvPr>
            <p:ph type="body" sz="quarter" idx="48" hasCustomPrompt="1"/>
          </p:nvPr>
        </p:nvSpPr>
        <p:spPr>
          <a:xfrm>
            <a:off x="5643430" y="1130765"/>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68" name="CVMobileRight_2">
            <a:extLst>
              <a:ext uri="{FF2B5EF4-FFF2-40B4-BE49-F238E27FC236}">
                <a16:creationId xmlns:a16="http://schemas.microsoft.com/office/drawing/2014/main" id="{AAE967B4-5DAF-409C-83CD-A75DB32E367A}"/>
              </a:ext>
            </a:extLst>
          </p:cNvPr>
          <p:cNvSpPr>
            <a:spLocks noGrp="1"/>
          </p:cNvSpPr>
          <p:nvPr>
            <p:ph type="body" sz="quarter" idx="49" hasCustomPrompt="1"/>
          </p:nvPr>
        </p:nvSpPr>
        <p:spPr>
          <a:xfrm>
            <a:off x="5640044" y="2281413"/>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69" name="CVPictureRight_5">
            <a:extLst>
              <a:ext uri="{FF2B5EF4-FFF2-40B4-BE49-F238E27FC236}">
                <a16:creationId xmlns:a16="http://schemas.microsoft.com/office/drawing/2014/main" id="{6E970CA9-6F34-4EC6-B76A-D86968879E10}"/>
              </a:ext>
            </a:extLst>
          </p:cNvPr>
          <p:cNvSpPr>
            <a:spLocks noGrp="1"/>
          </p:cNvSpPr>
          <p:nvPr>
            <p:ph type="pic" sz="quarter" idx="50" hasCustomPrompt="1"/>
          </p:nvPr>
        </p:nvSpPr>
        <p:spPr>
          <a:xfrm>
            <a:off x="4275960" y="295968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70" name="CVTitleRight_5">
            <a:extLst>
              <a:ext uri="{FF2B5EF4-FFF2-40B4-BE49-F238E27FC236}">
                <a16:creationId xmlns:a16="http://schemas.microsoft.com/office/drawing/2014/main" id="{031B27B5-90B0-440B-9080-ECFBA61421A9}"/>
              </a:ext>
            </a:extLst>
          </p:cNvPr>
          <p:cNvSpPr>
            <a:spLocks noGrp="1"/>
          </p:cNvSpPr>
          <p:nvPr>
            <p:ph type="body" sz="quarter" idx="51" hasCustomPrompt="1"/>
          </p:nvPr>
        </p:nvSpPr>
        <p:spPr>
          <a:xfrm>
            <a:off x="5643430" y="322506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71" name="CVTelephoneRight_5">
            <a:extLst>
              <a:ext uri="{FF2B5EF4-FFF2-40B4-BE49-F238E27FC236}">
                <a16:creationId xmlns:a16="http://schemas.microsoft.com/office/drawing/2014/main" id="{D6D0FAF0-F81C-4A13-A38B-0CE2C73EA9E5}"/>
              </a:ext>
            </a:extLst>
          </p:cNvPr>
          <p:cNvSpPr>
            <a:spLocks noGrp="1"/>
          </p:cNvSpPr>
          <p:nvPr>
            <p:ph type="body" sz="quarter" idx="52" hasCustomPrompt="1"/>
          </p:nvPr>
        </p:nvSpPr>
        <p:spPr>
          <a:xfrm>
            <a:off x="5640044" y="389442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72" name="CVEmailRight_5">
            <a:extLst>
              <a:ext uri="{FF2B5EF4-FFF2-40B4-BE49-F238E27FC236}">
                <a16:creationId xmlns:a16="http://schemas.microsoft.com/office/drawing/2014/main" id="{CF9AAEE3-877C-4AAD-A94C-9E8A4DDAB4BB}"/>
              </a:ext>
            </a:extLst>
          </p:cNvPr>
          <p:cNvSpPr>
            <a:spLocks noGrp="1"/>
          </p:cNvSpPr>
          <p:nvPr>
            <p:ph type="body" sz="quarter" idx="53" hasCustomPrompt="1"/>
          </p:nvPr>
        </p:nvSpPr>
        <p:spPr>
          <a:xfrm>
            <a:off x="5640044" y="433186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73" name="CVSubTitleRight_5">
            <a:extLst>
              <a:ext uri="{FF2B5EF4-FFF2-40B4-BE49-F238E27FC236}">
                <a16:creationId xmlns:a16="http://schemas.microsoft.com/office/drawing/2014/main" id="{91AE8D0F-DBB9-4A3D-8A4E-09D1F92DFCA5}"/>
              </a:ext>
            </a:extLst>
          </p:cNvPr>
          <p:cNvSpPr>
            <a:spLocks noGrp="1"/>
          </p:cNvSpPr>
          <p:nvPr>
            <p:ph type="body" sz="quarter" idx="54" hasCustomPrompt="1"/>
          </p:nvPr>
        </p:nvSpPr>
        <p:spPr>
          <a:xfrm>
            <a:off x="5643430" y="344137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74" name="CVNameRight_5">
            <a:extLst>
              <a:ext uri="{FF2B5EF4-FFF2-40B4-BE49-F238E27FC236}">
                <a16:creationId xmlns:a16="http://schemas.microsoft.com/office/drawing/2014/main" id="{84FCC076-D769-4A80-8E21-B91978C45DAC}"/>
              </a:ext>
            </a:extLst>
          </p:cNvPr>
          <p:cNvSpPr>
            <a:spLocks noGrp="1"/>
          </p:cNvSpPr>
          <p:nvPr>
            <p:ph type="body" sz="quarter" idx="55" hasCustomPrompt="1"/>
          </p:nvPr>
        </p:nvSpPr>
        <p:spPr>
          <a:xfrm>
            <a:off x="5643430" y="296491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75" name="CVMobileRight_5">
            <a:extLst>
              <a:ext uri="{FF2B5EF4-FFF2-40B4-BE49-F238E27FC236}">
                <a16:creationId xmlns:a16="http://schemas.microsoft.com/office/drawing/2014/main" id="{87B8204D-8100-4348-B63A-55143D8B3C1E}"/>
              </a:ext>
            </a:extLst>
          </p:cNvPr>
          <p:cNvSpPr>
            <a:spLocks noGrp="1"/>
          </p:cNvSpPr>
          <p:nvPr>
            <p:ph type="body" sz="quarter" idx="56" hasCustomPrompt="1"/>
          </p:nvPr>
        </p:nvSpPr>
        <p:spPr>
          <a:xfrm>
            <a:off x="5640044" y="411556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76" name="CVPictureRight_8">
            <a:extLst>
              <a:ext uri="{FF2B5EF4-FFF2-40B4-BE49-F238E27FC236}">
                <a16:creationId xmlns:a16="http://schemas.microsoft.com/office/drawing/2014/main" id="{BE33439C-C29E-46C5-8D73-8B57D1B8EECE}"/>
              </a:ext>
            </a:extLst>
          </p:cNvPr>
          <p:cNvSpPr>
            <a:spLocks noGrp="1"/>
          </p:cNvSpPr>
          <p:nvPr>
            <p:ph type="pic" sz="quarter" idx="57" hasCustomPrompt="1"/>
          </p:nvPr>
        </p:nvSpPr>
        <p:spPr>
          <a:xfrm>
            <a:off x="4275960" y="478620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77" name="CVTitleRight_8">
            <a:extLst>
              <a:ext uri="{FF2B5EF4-FFF2-40B4-BE49-F238E27FC236}">
                <a16:creationId xmlns:a16="http://schemas.microsoft.com/office/drawing/2014/main" id="{F945538B-DE4F-4B7B-85D5-0FB196326E16}"/>
              </a:ext>
            </a:extLst>
          </p:cNvPr>
          <p:cNvSpPr>
            <a:spLocks noGrp="1"/>
          </p:cNvSpPr>
          <p:nvPr>
            <p:ph type="body" sz="quarter" idx="58" hasCustomPrompt="1"/>
          </p:nvPr>
        </p:nvSpPr>
        <p:spPr>
          <a:xfrm>
            <a:off x="5643430" y="505158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78" name="CVTelephoneRight_8">
            <a:extLst>
              <a:ext uri="{FF2B5EF4-FFF2-40B4-BE49-F238E27FC236}">
                <a16:creationId xmlns:a16="http://schemas.microsoft.com/office/drawing/2014/main" id="{30852482-4923-4CD1-A29B-67C2E3163F24}"/>
              </a:ext>
            </a:extLst>
          </p:cNvPr>
          <p:cNvSpPr>
            <a:spLocks noGrp="1"/>
          </p:cNvSpPr>
          <p:nvPr>
            <p:ph type="body" sz="quarter" idx="59" hasCustomPrompt="1"/>
          </p:nvPr>
        </p:nvSpPr>
        <p:spPr>
          <a:xfrm>
            <a:off x="5640044" y="572094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79" name="CVEmailRight_8">
            <a:extLst>
              <a:ext uri="{FF2B5EF4-FFF2-40B4-BE49-F238E27FC236}">
                <a16:creationId xmlns:a16="http://schemas.microsoft.com/office/drawing/2014/main" id="{7CA7016F-76A3-43D5-8AE8-694B4C435E21}"/>
              </a:ext>
            </a:extLst>
          </p:cNvPr>
          <p:cNvSpPr>
            <a:spLocks noGrp="1"/>
          </p:cNvSpPr>
          <p:nvPr>
            <p:ph type="body" sz="quarter" idx="60" hasCustomPrompt="1"/>
          </p:nvPr>
        </p:nvSpPr>
        <p:spPr>
          <a:xfrm>
            <a:off x="5640044" y="615838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80" name="CVSubTitleRight_8">
            <a:extLst>
              <a:ext uri="{FF2B5EF4-FFF2-40B4-BE49-F238E27FC236}">
                <a16:creationId xmlns:a16="http://schemas.microsoft.com/office/drawing/2014/main" id="{478184C6-0D60-4C65-BEA6-B32FC6BF7C7D}"/>
              </a:ext>
            </a:extLst>
          </p:cNvPr>
          <p:cNvSpPr>
            <a:spLocks noGrp="1"/>
          </p:cNvSpPr>
          <p:nvPr>
            <p:ph type="body" sz="quarter" idx="61" hasCustomPrompt="1"/>
          </p:nvPr>
        </p:nvSpPr>
        <p:spPr>
          <a:xfrm>
            <a:off x="5643430" y="526789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81" name="CVNameRight_8">
            <a:extLst>
              <a:ext uri="{FF2B5EF4-FFF2-40B4-BE49-F238E27FC236}">
                <a16:creationId xmlns:a16="http://schemas.microsoft.com/office/drawing/2014/main" id="{7FCB8822-A3FC-4E8E-9C55-AC02DBD29E10}"/>
              </a:ext>
            </a:extLst>
          </p:cNvPr>
          <p:cNvSpPr>
            <a:spLocks noGrp="1"/>
          </p:cNvSpPr>
          <p:nvPr>
            <p:ph type="body" sz="quarter" idx="62" hasCustomPrompt="1"/>
          </p:nvPr>
        </p:nvSpPr>
        <p:spPr>
          <a:xfrm>
            <a:off x="5643430" y="479143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82" name="CVMobileRight_8">
            <a:extLst>
              <a:ext uri="{FF2B5EF4-FFF2-40B4-BE49-F238E27FC236}">
                <a16:creationId xmlns:a16="http://schemas.microsoft.com/office/drawing/2014/main" id="{6C301F30-1BE8-4121-A695-E4EBB6565440}"/>
              </a:ext>
            </a:extLst>
          </p:cNvPr>
          <p:cNvSpPr>
            <a:spLocks noGrp="1"/>
          </p:cNvSpPr>
          <p:nvPr>
            <p:ph type="body" sz="quarter" idx="63" hasCustomPrompt="1"/>
          </p:nvPr>
        </p:nvSpPr>
        <p:spPr>
          <a:xfrm>
            <a:off x="5640044" y="594208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83" name="CVPictureRight_3">
            <a:extLst>
              <a:ext uri="{FF2B5EF4-FFF2-40B4-BE49-F238E27FC236}">
                <a16:creationId xmlns:a16="http://schemas.microsoft.com/office/drawing/2014/main" id="{249EF96E-7E55-479A-B3F2-40136FECE2B4}"/>
              </a:ext>
            </a:extLst>
          </p:cNvPr>
          <p:cNvSpPr>
            <a:spLocks noGrp="1"/>
          </p:cNvSpPr>
          <p:nvPr>
            <p:ph type="pic" sz="quarter" idx="64" hasCustomPrompt="1"/>
          </p:nvPr>
        </p:nvSpPr>
        <p:spPr>
          <a:xfrm>
            <a:off x="8258654"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84" name="CVTitleRight_3">
            <a:extLst>
              <a:ext uri="{FF2B5EF4-FFF2-40B4-BE49-F238E27FC236}">
                <a16:creationId xmlns:a16="http://schemas.microsoft.com/office/drawing/2014/main" id="{C1418730-2242-416C-9AA1-FE7E5C2BA90A}"/>
              </a:ext>
            </a:extLst>
          </p:cNvPr>
          <p:cNvSpPr>
            <a:spLocks noGrp="1"/>
          </p:cNvSpPr>
          <p:nvPr>
            <p:ph type="body" sz="quarter" idx="65" hasCustomPrompt="1"/>
          </p:nvPr>
        </p:nvSpPr>
        <p:spPr>
          <a:xfrm>
            <a:off x="9626124" y="1390916"/>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85" name="CVTelephoneRight_3">
            <a:extLst>
              <a:ext uri="{FF2B5EF4-FFF2-40B4-BE49-F238E27FC236}">
                <a16:creationId xmlns:a16="http://schemas.microsoft.com/office/drawing/2014/main" id="{A41C775F-F2A5-4043-8C0A-9EFE09023A8D}"/>
              </a:ext>
            </a:extLst>
          </p:cNvPr>
          <p:cNvSpPr>
            <a:spLocks noGrp="1"/>
          </p:cNvSpPr>
          <p:nvPr>
            <p:ph type="body" sz="quarter" idx="66" hasCustomPrompt="1"/>
          </p:nvPr>
        </p:nvSpPr>
        <p:spPr>
          <a:xfrm>
            <a:off x="9622738" y="2060274"/>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86" name="CVEmailRight_3">
            <a:extLst>
              <a:ext uri="{FF2B5EF4-FFF2-40B4-BE49-F238E27FC236}">
                <a16:creationId xmlns:a16="http://schemas.microsoft.com/office/drawing/2014/main" id="{3F0F6D57-430D-4AFD-9D92-9D46F02C25B3}"/>
              </a:ext>
            </a:extLst>
          </p:cNvPr>
          <p:cNvSpPr>
            <a:spLocks noGrp="1"/>
          </p:cNvSpPr>
          <p:nvPr>
            <p:ph type="body" sz="quarter" idx="67" hasCustomPrompt="1"/>
          </p:nvPr>
        </p:nvSpPr>
        <p:spPr>
          <a:xfrm>
            <a:off x="9622738" y="2497720"/>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87" name="CVSubTitleRight_3">
            <a:extLst>
              <a:ext uri="{FF2B5EF4-FFF2-40B4-BE49-F238E27FC236}">
                <a16:creationId xmlns:a16="http://schemas.microsoft.com/office/drawing/2014/main" id="{DEBB0E91-FCD5-4284-BB25-CEB7728C3870}"/>
              </a:ext>
            </a:extLst>
          </p:cNvPr>
          <p:cNvSpPr>
            <a:spLocks noGrp="1"/>
          </p:cNvSpPr>
          <p:nvPr>
            <p:ph type="body" sz="quarter" idx="68" hasCustomPrompt="1"/>
          </p:nvPr>
        </p:nvSpPr>
        <p:spPr>
          <a:xfrm>
            <a:off x="9626124" y="1607223"/>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88" name="CVNameRight_3">
            <a:extLst>
              <a:ext uri="{FF2B5EF4-FFF2-40B4-BE49-F238E27FC236}">
                <a16:creationId xmlns:a16="http://schemas.microsoft.com/office/drawing/2014/main" id="{A0E9A68E-EE8C-44AB-9001-4DE48F63E5F6}"/>
              </a:ext>
            </a:extLst>
          </p:cNvPr>
          <p:cNvSpPr>
            <a:spLocks noGrp="1"/>
          </p:cNvSpPr>
          <p:nvPr>
            <p:ph type="body" sz="quarter" idx="69" hasCustomPrompt="1"/>
          </p:nvPr>
        </p:nvSpPr>
        <p:spPr>
          <a:xfrm>
            <a:off x="9626124" y="1130765"/>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89" name="CVMobileRight_3">
            <a:extLst>
              <a:ext uri="{FF2B5EF4-FFF2-40B4-BE49-F238E27FC236}">
                <a16:creationId xmlns:a16="http://schemas.microsoft.com/office/drawing/2014/main" id="{D053F2F6-5186-4EE4-B11D-73DAA52D0A07}"/>
              </a:ext>
            </a:extLst>
          </p:cNvPr>
          <p:cNvSpPr>
            <a:spLocks noGrp="1"/>
          </p:cNvSpPr>
          <p:nvPr>
            <p:ph type="body" sz="quarter" idx="70" hasCustomPrompt="1"/>
          </p:nvPr>
        </p:nvSpPr>
        <p:spPr>
          <a:xfrm>
            <a:off x="9622738" y="2281413"/>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90" name="CVPictureRight_6">
            <a:extLst>
              <a:ext uri="{FF2B5EF4-FFF2-40B4-BE49-F238E27FC236}">
                <a16:creationId xmlns:a16="http://schemas.microsoft.com/office/drawing/2014/main" id="{377A748D-556D-49A9-8DD2-0B0559940D72}"/>
              </a:ext>
            </a:extLst>
          </p:cNvPr>
          <p:cNvSpPr>
            <a:spLocks noGrp="1"/>
          </p:cNvSpPr>
          <p:nvPr>
            <p:ph type="pic" sz="quarter" idx="71" hasCustomPrompt="1"/>
          </p:nvPr>
        </p:nvSpPr>
        <p:spPr>
          <a:xfrm>
            <a:off x="8258654" y="295968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91" name="CVTitleRight_6">
            <a:extLst>
              <a:ext uri="{FF2B5EF4-FFF2-40B4-BE49-F238E27FC236}">
                <a16:creationId xmlns:a16="http://schemas.microsoft.com/office/drawing/2014/main" id="{FFB037AB-5DA3-4581-9E4C-7857593AE69B}"/>
              </a:ext>
            </a:extLst>
          </p:cNvPr>
          <p:cNvSpPr>
            <a:spLocks noGrp="1"/>
          </p:cNvSpPr>
          <p:nvPr>
            <p:ph type="body" sz="quarter" idx="72" hasCustomPrompt="1"/>
          </p:nvPr>
        </p:nvSpPr>
        <p:spPr>
          <a:xfrm>
            <a:off x="9626124" y="322506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92" name="CVTelephoneRight_6">
            <a:extLst>
              <a:ext uri="{FF2B5EF4-FFF2-40B4-BE49-F238E27FC236}">
                <a16:creationId xmlns:a16="http://schemas.microsoft.com/office/drawing/2014/main" id="{B51C7374-B0D6-48CD-8C2C-641524AD9754}"/>
              </a:ext>
            </a:extLst>
          </p:cNvPr>
          <p:cNvSpPr>
            <a:spLocks noGrp="1"/>
          </p:cNvSpPr>
          <p:nvPr>
            <p:ph type="body" sz="quarter" idx="73" hasCustomPrompt="1"/>
          </p:nvPr>
        </p:nvSpPr>
        <p:spPr>
          <a:xfrm>
            <a:off x="9622738" y="389442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193" name="CVEmailRight_6">
            <a:extLst>
              <a:ext uri="{FF2B5EF4-FFF2-40B4-BE49-F238E27FC236}">
                <a16:creationId xmlns:a16="http://schemas.microsoft.com/office/drawing/2014/main" id="{8DB85060-0360-4C50-8B5D-2B18D7D1752E}"/>
              </a:ext>
            </a:extLst>
          </p:cNvPr>
          <p:cNvSpPr>
            <a:spLocks noGrp="1"/>
          </p:cNvSpPr>
          <p:nvPr>
            <p:ph type="body" sz="quarter" idx="74" hasCustomPrompt="1"/>
          </p:nvPr>
        </p:nvSpPr>
        <p:spPr>
          <a:xfrm>
            <a:off x="9622738" y="433186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194" name="CVSubTitleRight_6">
            <a:extLst>
              <a:ext uri="{FF2B5EF4-FFF2-40B4-BE49-F238E27FC236}">
                <a16:creationId xmlns:a16="http://schemas.microsoft.com/office/drawing/2014/main" id="{98243372-FC89-40B1-A8C1-20A673B5D8D4}"/>
              </a:ext>
            </a:extLst>
          </p:cNvPr>
          <p:cNvSpPr>
            <a:spLocks noGrp="1"/>
          </p:cNvSpPr>
          <p:nvPr>
            <p:ph type="body" sz="quarter" idx="75" hasCustomPrompt="1"/>
          </p:nvPr>
        </p:nvSpPr>
        <p:spPr>
          <a:xfrm>
            <a:off x="9626124" y="344137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195" name="CVNameRight_6">
            <a:extLst>
              <a:ext uri="{FF2B5EF4-FFF2-40B4-BE49-F238E27FC236}">
                <a16:creationId xmlns:a16="http://schemas.microsoft.com/office/drawing/2014/main" id="{5E70E255-3F8D-43CD-B955-A42E9D8F9363}"/>
              </a:ext>
            </a:extLst>
          </p:cNvPr>
          <p:cNvSpPr>
            <a:spLocks noGrp="1"/>
          </p:cNvSpPr>
          <p:nvPr>
            <p:ph type="body" sz="quarter" idx="76" hasCustomPrompt="1"/>
          </p:nvPr>
        </p:nvSpPr>
        <p:spPr>
          <a:xfrm>
            <a:off x="9626124" y="296491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196" name="CVMobileRight_6">
            <a:extLst>
              <a:ext uri="{FF2B5EF4-FFF2-40B4-BE49-F238E27FC236}">
                <a16:creationId xmlns:a16="http://schemas.microsoft.com/office/drawing/2014/main" id="{567C460F-5D15-4F41-91DD-EE7A26A3EF3D}"/>
              </a:ext>
            </a:extLst>
          </p:cNvPr>
          <p:cNvSpPr>
            <a:spLocks noGrp="1"/>
          </p:cNvSpPr>
          <p:nvPr>
            <p:ph type="body" sz="quarter" idx="77" hasCustomPrompt="1"/>
          </p:nvPr>
        </p:nvSpPr>
        <p:spPr>
          <a:xfrm>
            <a:off x="9622738" y="411556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
        <p:nvSpPr>
          <p:cNvPr id="197" name="CVPictureRight_9">
            <a:extLst>
              <a:ext uri="{FF2B5EF4-FFF2-40B4-BE49-F238E27FC236}">
                <a16:creationId xmlns:a16="http://schemas.microsoft.com/office/drawing/2014/main" id="{8EB1998A-B08E-486B-BEB4-0897B12350DF}"/>
              </a:ext>
            </a:extLst>
          </p:cNvPr>
          <p:cNvSpPr>
            <a:spLocks noGrp="1"/>
          </p:cNvSpPr>
          <p:nvPr>
            <p:ph type="pic" sz="quarter" idx="78" hasCustomPrompt="1"/>
          </p:nvPr>
        </p:nvSpPr>
        <p:spPr>
          <a:xfrm>
            <a:off x="8258654" y="4786206"/>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98" name="CVTitleRight_9">
            <a:extLst>
              <a:ext uri="{FF2B5EF4-FFF2-40B4-BE49-F238E27FC236}">
                <a16:creationId xmlns:a16="http://schemas.microsoft.com/office/drawing/2014/main" id="{62C8B012-D02D-4AC3-8E13-D940AD77796F}"/>
              </a:ext>
            </a:extLst>
          </p:cNvPr>
          <p:cNvSpPr>
            <a:spLocks noGrp="1"/>
          </p:cNvSpPr>
          <p:nvPr>
            <p:ph type="body" sz="quarter" idx="79" hasCustomPrompt="1"/>
          </p:nvPr>
        </p:nvSpPr>
        <p:spPr>
          <a:xfrm>
            <a:off x="9626124" y="5051584"/>
            <a:ext cx="2268252" cy="153888"/>
          </a:xfrm>
          <a:prstGeom prst="rect">
            <a:avLst/>
          </a:prstGeom>
        </p:spPr>
        <p:txBody>
          <a:bodyPr vert="horz" wrap="square" lIns="0" tIns="0" rIns="0" bIns="0">
            <a:spAutoFit/>
          </a:bodyPr>
          <a:lstStyle>
            <a:lvl1pPr marL="0" indent="0">
              <a:buNone/>
              <a:defRPr sz="1000" b="1" baseline="0">
                <a:solidFill>
                  <a:schemeClr val="accent2"/>
                </a:solidFill>
                <a:latin typeface="Arial" pitchFamily="34" charset="0"/>
                <a:cs typeface="Arial" pitchFamily="34" charset="0"/>
              </a:defRPr>
            </a:lvl1pPr>
          </a:lstStyle>
          <a:p>
            <a:pPr lvl="0"/>
            <a:r>
              <a:rPr lang="en-GB" noProof="0"/>
              <a:t>Title (1 row max)</a:t>
            </a:r>
          </a:p>
        </p:txBody>
      </p:sp>
      <p:sp>
        <p:nvSpPr>
          <p:cNvPr id="199" name="CVTelephoneRight_9">
            <a:extLst>
              <a:ext uri="{FF2B5EF4-FFF2-40B4-BE49-F238E27FC236}">
                <a16:creationId xmlns:a16="http://schemas.microsoft.com/office/drawing/2014/main" id="{40AA09AA-A6A6-49CA-AFC8-BD96C8817A83}"/>
              </a:ext>
            </a:extLst>
          </p:cNvPr>
          <p:cNvSpPr>
            <a:spLocks noGrp="1"/>
          </p:cNvSpPr>
          <p:nvPr>
            <p:ph type="body" sz="quarter" idx="80" hasCustomPrompt="1"/>
          </p:nvPr>
        </p:nvSpPr>
        <p:spPr>
          <a:xfrm>
            <a:off x="9622738" y="5720942"/>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Phone number</a:t>
            </a:r>
          </a:p>
        </p:txBody>
      </p:sp>
      <p:sp>
        <p:nvSpPr>
          <p:cNvPr id="200" name="CVEmailRight_9">
            <a:extLst>
              <a:ext uri="{FF2B5EF4-FFF2-40B4-BE49-F238E27FC236}">
                <a16:creationId xmlns:a16="http://schemas.microsoft.com/office/drawing/2014/main" id="{442BAD82-6520-42ED-B62D-E374F1D3CBAC}"/>
              </a:ext>
            </a:extLst>
          </p:cNvPr>
          <p:cNvSpPr>
            <a:spLocks noGrp="1"/>
          </p:cNvSpPr>
          <p:nvPr>
            <p:ph type="body" sz="quarter" idx="81" hasCustomPrompt="1"/>
          </p:nvPr>
        </p:nvSpPr>
        <p:spPr>
          <a:xfrm>
            <a:off x="9622738" y="6158388"/>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Email address</a:t>
            </a:r>
          </a:p>
        </p:txBody>
      </p:sp>
      <p:sp>
        <p:nvSpPr>
          <p:cNvPr id="201" name="CVSubTitleRight_9">
            <a:extLst>
              <a:ext uri="{FF2B5EF4-FFF2-40B4-BE49-F238E27FC236}">
                <a16:creationId xmlns:a16="http://schemas.microsoft.com/office/drawing/2014/main" id="{D93E3E0F-AF7F-483D-938F-07F862B74A20}"/>
              </a:ext>
            </a:extLst>
          </p:cNvPr>
          <p:cNvSpPr>
            <a:spLocks noGrp="1"/>
          </p:cNvSpPr>
          <p:nvPr>
            <p:ph type="body" sz="quarter" idx="82" hasCustomPrompt="1"/>
          </p:nvPr>
        </p:nvSpPr>
        <p:spPr>
          <a:xfrm>
            <a:off x="9626124" y="5267891"/>
            <a:ext cx="2268252" cy="153888"/>
          </a:xfrm>
          <a:prstGeom prst="rect">
            <a:avLst/>
          </a:prstGeom>
        </p:spPr>
        <p:txBody>
          <a:bodyPr vert="horz" wrap="square" lIns="0" tIns="0" rIns="0" bIns="0">
            <a:spAutoFit/>
          </a:bodyPr>
          <a:lstStyle>
            <a:lvl1pPr marL="0" indent="0">
              <a:buNone/>
              <a:defRPr sz="1000" b="0">
                <a:solidFill>
                  <a:schemeClr val="accent2"/>
                </a:solidFill>
                <a:latin typeface="Arial" pitchFamily="34" charset="0"/>
                <a:cs typeface="Arial" pitchFamily="34" charset="0"/>
              </a:defRPr>
            </a:lvl1pPr>
          </a:lstStyle>
          <a:p>
            <a:pPr lvl="0"/>
            <a:r>
              <a:rPr lang="en-GB" noProof="0"/>
              <a:t>Subtitle – optional (2 row max)</a:t>
            </a:r>
          </a:p>
        </p:txBody>
      </p:sp>
      <p:sp>
        <p:nvSpPr>
          <p:cNvPr id="202" name="CVNameRight_9">
            <a:extLst>
              <a:ext uri="{FF2B5EF4-FFF2-40B4-BE49-F238E27FC236}">
                <a16:creationId xmlns:a16="http://schemas.microsoft.com/office/drawing/2014/main" id="{838B9590-3EEC-4451-B0BB-E4079E39C86A}"/>
              </a:ext>
            </a:extLst>
          </p:cNvPr>
          <p:cNvSpPr>
            <a:spLocks noGrp="1"/>
          </p:cNvSpPr>
          <p:nvPr>
            <p:ph type="body" sz="quarter" idx="83" hasCustomPrompt="1"/>
          </p:nvPr>
        </p:nvSpPr>
        <p:spPr>
          <a:xfrm>
            <a:off x="9626124" y="4791433"/>
            <a:ext cx="2268252" cy="153888"/>
          </a:xfrm>
          <a:prstGeom prst="rect">
            <a:avLst/>
          </a:prstGeom>
        </p:spPr>
        <p:txBody>
          <a:bodyPr vert="horz" wrap="square" lIns="0" tIns="0" rIns="0" bIns="0">
            <a:spAutoFit/>
          </a:bodyPr>
          <a:lstStyle>
            <a:lvl1pPr marL="0" indent="0">
              <a:spcBef>
                <a:spcPts val="0"/>
              </a:spcBef>
              <a:buNone/>
              <a:defRPr sz="1000" b="1" baseline="0">
                <a:solidFill>
                  <a:schemeClr val="bg2"/>
                </a:solidFill>
                <a:latin typeface="Arial" pitchFamily="34" charset="0"/>
                <a:cs typeface="Arial" pitchFamily="34" charset="0"/>
              </a:defRPr>
            </a:lvl1pPr>
          </a:lstStyle>
          <a:p>
            <a:pPr lvl="0"/>
            <a:r>
              <a:rPr lang="en-GB" noProof="0"/>
              <a:t>Name</a:t>
            </a:r>
          </a:p>
        </p:txBody>
      </p:sp>
      <p:sp>
        <p:nvSpPr>
          <p:cNvPr id="203" name="CVMobileRight_9">
            <a:extLst>
              <a:ext uri="{FF2B5EF4-FFF2-40B4-BE49-F238E27FC236}">
                <a16:creationId xmlns:a16="http://schemas.microsoft.com/office/drawing/2014/main" id="{9C2B73A2-5E94-4AFA-A2A4-2787C01BE81F}"/>
              </a:ext>
            </a:extLst>
          </p:cNvPr>
          <p:cNvSpPr>
            <a:spLocks noGrp="1"/>
          </p:cNvSpPr>
          <p:nvPr>
            <p:ph type="body" sz="quarter" idx="84" hasCustomPrompt="1"/>
          </p:nvPr>
        </p:nvSpPr>
        <p:spPr>
          <a:xfrm>
            <a:off x="9622738" y="5942081"/>
            <a:ext cx="2268252" cy="153888"/>
          </a:xfrm>
          <a:prstGeom prst="rect">
            <a:avLst/>
          </a:prstGeom>
        </p:spPr>
        <p:txBody>
          <a:bodyPr vert="horz" wrap="square" lIns="0" tIns="0" rIns="0" bIns="0">
            <a:spAutoFit/>
          </a:bodyPr>
          <a:lstStyle>
            <a:lvl1pPr marL="0" indent="0">
              <a:lnSpc>
                <a:spcPct val="100000"/>
              </a:lnSpc>
              <a:spcBef>
                <a:spcPts val="0"/>
              </a:spcBef>
              <a:buNone/>
              <a:defRPr sz="1000" b="0">
                <a:solidFill>
                  <a:schemeClr val="bg2"/>
                </a:solidFill>
                <a:latin typeface="+mn-lt"/>
                <a:cs typeface="Arial" pitchFamily="34" charset="0"/>
              </a:defRPr>
            </a:lvl1pPr>
          </a:lstStyle>
          <a:p>
            <a:pPr lvl="0"/>
            <a:r>
              <a:rPr lang="en-GB" noProof="0"/>
              <a:t>Mobile phone number</a:t>
            </a:r>
          </a:p>
        </p:txBody>
      </p:sp>
    </p:spTree>
    <p:extLst>
      <p:ext uri="{BB962C8B-B14F-4D97-AF65-F5344CB8AC3E}">
        <p14:creationId xmlns:p14="http://schemas.microsoft.com/office/powerpoint/2010/main" val="3674275674"/>
      </p:ext>
    </p:extLst>
  </p:cSld>
  <p:clrMapOvr>
    <a:masterClrMapping/>
  </p:clrMapOvr>
  <p:extLst>
    <p:ext uri="{DCECCB84-F9BA-43D5-87BE-67443E8EF086}">
      <p15:sldGuideLst xmlns:p15="http://schemas.microsoft.com/office/powerpoint/2012/main">
        <p15:guide id="1" pos="3840">
          <p15:clr>
            <a:srgbClr val="FBAE40"/>
          </p15:clr>
        </p15:guide>
        <p15:guide id="2" orient="horz" pos="2341">
          <p15:clr>
            <a:srgbClr val="FBAE40"/>
          </p15:clr>
        </p15:guide>
        <p15:guide id="3" pos="3659">
          <p15:clr>
            <a:srgbClr val="FBAE40"/>
          </p15:clr>
        </p15:guide>
        <p15:guide id="4" pos="4021">
          <p15:clr>
            <a:srgbClr val="FBAE40"/>
          </p15:clr>
        </p15:guide>
        <p15:guide id="5" pos="5790">
          <p15:clr>
            <a:srgbClr val="FBAE40"/>
          </p15:clr>
        </p15:guide>
        <p15:guide id="6" pos="7061">
          <p15:clr>
            <a:srgbClr val="FBAE40"/>
          </p15:clr>
        </p15:guide>
        <p15:guide id="7" pos="7491">
          <p15:clr>
            <a:srgbClr val="FBAE40"/>
          </p15:clr>
        </p15:guide>
        <p15:guide id="8" pos="619">
          <p15:clr>
            <a:srgbClr val="FBAE40"/>
          </p15:clr>
        </p15:guide>
        <p15:guide id="9" pos="189">
          <p15:clr>
            <a:srgbClr val="FBAE40"/>
          </p15:clr>
        </p15:guide>
        <p15:guide id="10" orient="horz" pos="709">
          <p15:clr>
            <a:srgbClr val="FBAE40"/>
          </p15:clr>
        </p15:guide>
        <p15:guide id="11" orient="horz" pos="187">
          <p15:clr>
            <a:srgbClr val="FBAE40"/>
          </p15:clr>
        </p15:guide>
        <p15:guide id="12" orient="horz" pos="397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V 10 per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8" name="CVPictureRight_1"/>
          <p:cNvSpPr>
            <a:spLocks noGrp="1"/>
          </p:cNvSpPr>
          <p:nvPr>
            <p:ph type="pic" sz="quarter" idx="13" hasCustomPrompt="1"/>
          </p:nvPr>
        </p:nvSpPr>
        <p:spPr>
          <a:xfrm>
            <a:off x="300039"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9" name="CVTitleRight_1"/>
          <p:cNvSpPr>
            <a:spLocks noGrp="1"/>
          </p:cNvSpPr>
          <p:nvPr>
            <p:ph type="body" sz="quarter" idx="14" hasCustomPrompt="1"/>
          </p:nvPr>
        </p:nvSpPr>
        <p:spPr>
          <a:xfrm>
            <a:off x="296045" y="2952367"/>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3" name="CVEmailRight_1"/>
          <p:cNvSpPr>
            <a:spLocks noGrp="1"/>
          </p:cNvSpPr>
          <p:nvPr>
            <p:ph type="body" sz="quarter" idx="19" hasCustomPrompt="1"/>
          </p:nvPr>
        </p:nvSpPr>
        <p:spPr>
          <a:xfrm>
            <a:off x="292659" y="3367573"/>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22" name="CVNameRight_1"/>
          <p:cNvSpPr>
            <a:spLocks noGrp="1"/>
          </p:cNvSpPr>
          <p:nvPr>
            <p:ph type="body" sz="quarter" idx="27" hasCustomPrompt="1"/>
          </p:nvPr>
        </p:nvSpPr>
        <p:spPr>
          <a:xfrm>
            <a:off x="296045" y="2744924"/>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24" name="CVMobileRight_1"/>
          <p:cNvSpPr>
            <a:spLocks noGrp="1"/>
          </p:cNvSpPr>
          <p:nvPr>
            <p:ph type="body" sz="quarter" idx="28" hasCustomPrompt="1"/>
          </p:nvPr>
        </p:nvSpPr>
        <p:spPr>
          <a:xfrm>
            <a:off x="292659" y="3157438"/>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11" name="CVPictureRight_2">
            <a:extLst>
              <a:ext uri="{FF2B5EF4-FFF2-40B4-BE49-F238E27FC236}">
                <a16:creationId xmlns:a16="http://schemas.microsoft.com/office/drawing/2014/main" id="{B6C78387-CBEA-4F60-8F55-4D64B766A7A4}"/>
              </a:ext>
            </a:extLst>
          </p:cNvPr>
          <p:cNvSpPr>
            <a:spLocks noGrp="1"/>
          </p:cNvSpPr>
          <p:nvPr>
            <p:ph type="pic" sz="quarter" idx="29" hasCustomPrompt="1"/>
          </p:nvPr>
        </p:nvSpPr>
        <p:spPr>
          <a:xfrm>
            <a:off x="2686178"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12" name="CVTitleRight_2">
            <a:extLst>
              <a:ext uri="{FF2B5EF4-FFF2-40B4-BE49-F238E27FC236}">
                <a16:creationId xmlns:a16="http://schemas.microsoft.com/office/drawing/2014/main" id="{1D4E6D2D-BEB0-4D18-998D-0E731C7BADE6}"/>
              </a:ext>
            </a:extLst>
          </p:cNvPr>
          <p:cNvSpPr>
            <a:spLocks noGrp="1"/>
          </p:cNvSpPr>
          <p:nvPr>
            <p:ph type="body" sz="quarter" idx="30" hasCustomPrompt="1"/>
          </p:nvPr>
        </p:nvSpPr>
        <p:spPr>
          <a:xfrm>
            <a:off x="2691646" y="2952367"/>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13" name="CVEmailRight_2">
            <a:extLst>
              <a:ext uri="{FF2B5EF4-FFF2-40B4-BE49-F238E27FC236}">
                <a16:creationId xmlns:a16="http://schemas.microsoft.com/office/drawing/2014/main" id="{7651E491-9E45-4D5B-B47B-EF5346CB0158}"/>
              </a:ext>
            </a:extLst>
          </p:cNvPr>
          <p:cNvSpPr>
            <a:spLocks noGrp="1"/>
          </p:cNvSpPr>
          <p:nvPr>
            <p:ph type="body" sz="quarter" idx="31" hasCustomPrompt="1"/>
          </p:nvPr>
        </p:nvSpPr>
        <p:spPr>
          <a:xfrm>
            <a:off x="2688260" y="3367573"/>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14" name="CVNameRight_2">
            <a:extLst>
              <a:ext uri="{FF2B5EF4-FFF2-40B4-BE49-F238E27FC236}">
                <a16:creationId xmlns:a16="http://schemas.microsoft.com/office/drawing/2014/main" id="{894E0938-3AF0-4752-B921-0D84698D4E97}"/>
              </a:ext>
            </a:extLst>
          </p:cNvPr>
          <p:cNvSpPr>
            <a:spLocks noGrp="1"/>
          </p:cNvSpPr>
          <p:nvPr>
            <p:ph type="body" sz="quarter" idx="32" hasCustomPrompt="1"/>
          </p:nvPr>
        </p:nvSpPr>
        <p:spPr>
          <a:xfrm>
            <a:off x="2691646" y="2744924"/>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15" name="CVMobileRight_2">
            <a:extLst>
              <a:ext uri="{FF2B5EF4-FFF2-40B4-BE49-F238E27FC236}">
                <a16:creationId xmlns:a16="http://schemas.microsoft.com/office/drawing/2014/main" id="{6673D979-1E4C-44E6-ACEA-93661F4EAC37}"/>
              </a:ext>
            </a:extLst>
          </p:cNvPr>
          <p:cNvSpPr>
            <a:spLocks noGrp="1"/>
          </p:cNvSpPr>
          <p:nvPr>
            <p:ph type="body" sz="quarter" idx="33" hasCustomPrompt="1"/>
          </p:nvPr>
        </p:nvSpPr>
        <p:spPr>
          <a:xfrm>
            <a:off x="2688260" y="3157438"/>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16" name="CVPictureRight_3">
            <a:extLst>
              <a:ext uri="{FF2B5EF4-FFF2-40B4-BE49-F238E27FC236}">
                <a16:creationId xmlns:a16="http://schemas.microsoft.com/office/drawing/2014/main" id="{3463F6EE-178E-446B-942D-E048D5F3AEA1}"/>
              </a:ext>
            </a:extLst>
          </p:cNvPr>
          <p:cNvSpPr>
            <a:spLocks noGrp="1"/>
          </p:cNvSpPr>
          <p:nvPr>
            <p:ph type="pic" sz="quarter" idx="34" hasCustomPrompt="1"/>
          </p:nvPr>
        </p:nvSpPr>
        <p:spPr>
          <a:xfrm>
            <a:off x="5072317"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17" name="CVTitleRight_3">
            <a:extLst>
              <a:ext uri="{FF2B5EF4-FFF2-40B4-BE49-F238E27FC236}">
                <a16:creationId xmlns:a16="http://schemas.microsoft.com/office/drawing/2014/main" id="{7F63EF60-595D-4BA5-895F-8FD1537DF43F}"/>
              </a:ext>
            </a:extLst>
          </p:cNvPr>
          <p:cNvSpPr>
            <a:spLocks noGrp="1"/>
          </p:cNvSpPr>
          <p:nvPr>
            <p:ph type="body" sz="quarter" idx="35" hasCustomPrompt="1"/>
          </p:nvPr>
        </p:nvSpPr>
        <p:spPr>
          <a:xfrm>
            <a:off x="5072317" y="2952367"/>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18" name="CVEmailRight_3">
            <a:extLst>
              <a:ext uri="{FF2B5EF4-FFF2-40B4-BE49-F238E27FC236}">
                <a16:creationId xmlns:a16="http://schemas.microsoft.com/office/drawing/2014/main" id="{F4FF85BD-FA12-49A3-A2CD-7C29DD5B4D15}"/>
              </a:ext>
            </a:extLst>
          </p:cNvPr>
          <p:cNvSpPr>
            <a:spLocks noGrp="1"/>
          </p:cNvSpPr>
          <p:nvPr>
            <p:ph type="body" sz="quarter" idx="36" hasCustomPrompt="1"/>
          </p:nvPr>
        </p:nvSpPr>
        <p:spPr>
          <a:xfrm>
            <a:off x="5068931" y="3367573"/>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19" name="CVNameRight_3">
            <a:extLst>
              <a:ext uri="{FF2B5EF4-FFF2-40B4-BE49-F238E27FC236}">
                <a16:creationId xmlns:a16="http://schemas.microsoft.com/office/drawing/2014/main" id="{6C5D2D52-752F-441C-ADEA-FFAB8344F26B}"/>
              </a:ext>
            </a:extLst>
          </p:cNvPr>
          <p:cNvSpPr>
            <a:spLocks noGrp="1"/>
          </p:cNvSpPr>
          <p:nvPr>
            <p:ph type="body" sz="quarter" idx="37" hasCustomPrompt="1"/>
          </p:nvPr>
        </p:nvSpPr>
        <p:spPr>
          <a:xfrm>
            <a:off x="5072317" y="2744924"/>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20" name="CVMobileRight_3">
            <a:extLst>
              <a:ext uri="{FF2B5EF4-FFF2-40B4-BE49-F238E27FC236}">
                <a16:creationId xmlns:a16="http://schemas.microsoft.com/office/drawing/2014/main" id="{E0914808-A040-431F-8806-47990B1E7476}"/>
              </a:ext>
            </a:extLst>
          </p:cNvPr>
          <p:cNvSpPr>
            <a:spLocks noGrp="1"/>
          </p:cNvSpPr>
          <p:nvPr>
            <p:ph type="body" sz="quarter" idx="38" hasCustomPrompt="1"/>
          </p:nvPr>
        </p:nvSpPr>
        <p:spPr>
          <a:xfrm>
            <a:off x="5068931" y="3157438"/>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21" name="CVPictureRight_4">
            <a:extLst>
              <a:ext uri="{FF2B5EF4-FFF2-40B4-BE49-F238E27FC236}">
                <a16:creationId xmlns:a16="http://schemas.microsoft.com/office/drawing/2014/main" id="{B39A5592-5E76-450A-8402-316F0DBE7329}"/>
              </a:ext>
            </a:extLst>
          </p:cNvPr>
          <p:cNvSpPr>
            <a:spLocks noGrp="1"/>
          </p:cNvSpPr>
          <p:nvPr>
            <p:ph type="pic" sz="quarter" idx="39" hasCustomPrompt="1"/>
          </p:nvPr>
        </p:nvSpPr>
        <p:spPr>
          <a:xfrm>
            <a:off x="7458456"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22" name="CVTitleRight_4">
            <a:extLst>
              <a:ext uri="{FF2B5EF4-FFF2-40B4-BE49-F238E27FC236}">
                <a16:creationId xmlns:a16="http://schemas.microsoft.com/office/drawing/2014/main" id="{C655AB92-FA21-4678-8EFA-C0305633051E}"/>
              </a:ext>
            </a:extLst>
          </p:cNvPr>
          <p:cNvSpPr>
            <a:spLocks noGrp="1"/>
          </p:cNvSpPr>
          <p:nvPr>
            <p:ph type="body" sz="quarter" idx="40" hasCustomPrompt="1"/>
          </p:nvPr>
        </p:nvSpPr>
        <p:spPr>
          <a:xfrm>
            <a:off x="7466178" y="2952367"/>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23" name="CVEmailRight_4">
            <a:extLst>
              <a:ext uri="{FF2B5EF4-FFF2-40B4-BE49-F238E27FC236}">
                <a16:creationId xmlns:a16="http://schemas.microsoft.com/office/drawing/2014/main" id="{42757788-D98E-4A58-B7F0-0B27F10679BF}"/>
              </a:ext>
            </a:extLst>
          </p:cNvPr>
          <p:cNvSpPr>
            <a:spLocks noGrp="1"/>
          </p:cNvSpPr>
          <p:nvPr>
            <p:ph type="body" sz="quarter" idx="41" hasCustomPrompt="1"/>
          </p:nvPr>
        </p:nvSpPr>
        <p:spPr>
          <a:xfrm>
            <a:off x="7462792" y="3367573"/>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24" name="CVNameRight_4">
            <a:extLst>
              <a:ext uri="{FF2B5EF4-FFF2-40B4-BE49-F238E27FC236}">
                <a16:creationId xmlns:a16="http://schemas.microsoft.com/office/drawing/2014/main" id="{E8797456-BE6F-4A66-B2F0-8A81F939FF7F}"/>
              </a:ext>
            </a:extLst>
          </p:cNvPr>
          <p:cNvSpPr>
            <a:spLocks noGrp="1"/>
          </p:cNvSpPr>
          <p:nvPr>
            <p:ph type="body" sz="quarter" idx="42" hasCustomPrompt="1"/>
          </p:nvPr>
        </p:nvSpPr>
        <p:spPr>
          <a:xfrm>
            <a:off x="7466178" y="2744924"/>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25" name="CVMobileRight_4">
            <a:extLst>
              <a:ext uri="{FF2B5EF4-FFF2-40B4-BE49-F238E27FC236}">
                <a16:creationId xmlns:a16="http://schemas.microsoft.com/office/drawing/2014/main" id="{FD3D534E-8F65-461E-9877-E8C0644AF342}"/>
              </a:ext>
            </a:extLst>
          </p:cNvPr>
          <p:cNvSpPr>
            <a:spLocks noGrp="1"/>
          </p:cNvSpPr>
          <p:nvPr>
            <p:ph type="body" sz="quarter" idx="43" hasCustomPrompt="1"/>
          </p:nvPr>
        </p:nvSpPr>
        <p:spPr>
          <a:xfrm>
            <a:off x="7462792" y="3157438"/>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26" name="CVPictureRight_5">
            <a:extLst>
              <a:ext uri="{FF2B5EF4-FFF2-40B4-BE49-F238E27FC236}">
                <a16:creationId xmlns:a16="http://schemas.microsoft.com/office/drawing/2014/main" id="{E0889599-2B97-4FE8-829D-2E4C6DD1DD1E}"/>
              </a:ext>
            </a:extLst>
          </p:cNvPr>
          <p:cNvSpPr>
            <a:spLocks noGrp="1"/>
          </p:cNvSpPr>
          <p:nvPr>
            <p:ph type="pic" sz="quarter" idx="44" hasCustomPrompt="1"/>
          </p:nvPr>
        </p:nvSpPr>
        <p:spPr>
          <a:xfrm>
            <a:off x="9844596" y="1125538"/>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27" name="CVTitleRight_5">
            <a:extLst>
              <a:ext uri="{FF2B5EF4-FFF2-40B4-BE49-F238E27FC236}">
                <a16:creationId xmlns:a16="http://schemas.microsoft.com/office/drawing/2014/main" id="{A0DC4A22-F218-4158-A0E4-EC1B43269779}"/>
              </a:ext>
            </a:extLst>
          </p:cNvPr>
          <p:cNvSpPr>
            <a:spLocks noGrp="1"/>
          </p:cNvSpPr>
          <p:nvPr>
            <p:ph type="body" sz="quarter" idx="45" hasCustomPrompt="1"/>
          </p:nvPr>
        </p:nvSpPr>
        <p:spPr>
          <a:xfrm>
            <a:off x="9840602" y="2952367"/>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28" name="CVEmailRight_5">
            <a:extLst>
              <a:ext uri="{FF2B5EF4-FFF2-40B4-BE49-F238E27FC236}">
                <a16:creationId xmlns:a16="http://schemas.microsoft.com/office/drawing/2014/main" id="{E342E0BD-E3E1-46FB-8303-FC82117A3B52}"/>
              </a:ext>
            </a:extLst>
          </p:cNvPr>
          <p:cNvSpPr>
            <a:spLocks noGrp="1"/>
          </p:cNvSpPr>
          <p:nvPr>
            <p:ph type="body" sz="quarter" idx="46" hasCustomPrompt="1"/>
          </p:nvPr>
        </p:nvSpPr>
        <p:spPr>
          <a:xfrm>
            <a:off x="9837216" y="3367573"/>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29" name="CVNameRight_5">
            <a:extLst>
              <a:ext uri="{FF2B5EF4-FFF2-40B4-BE49-F238E27FC236}">
                <a16:creationId xmlns:a16="http://schemas.microsoft.com/office/drawing/2014/main" id="{0D8A5789-C7E8-444A-9547-2AD3F286C6DE}"/>
              </a:ext>
            </a:extLst>
          </p:cNvPr>
          <p:cNvSpPr>
            <a:spLocks noGrp="1"/>
          </p:cNvSpPr>
          <p:nvPr>
            <p:ph type="body" sz="quarter" idx="47" hasCustomPrompt="1"/>
          </p:nvPr>
        </p:nvSpPr>
        <p:spPr>
          <a:xfrm>
            <a:off x="9840602" y="2744924"/>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30" name="CVMobileRight_5">
            <a:extLst>
              <a:ext uri="{FF2B5EF4-FFF2-40B4-BE49-F238E27FC236}">
                <a16:creationId xmlns:a16="http://schemas.microsoft.com/office/drawing/2014/main" id="{F15944AD-D9D1-4634-9CD4-30072EBFBE83}"/>
              </a:ext>
            </a:extLst>
          </p:cNvPr>
          <p:cNvSpPr>
            <a:spLocks noGrp="1"/>
          </p:cNvSpPr>
          <p:nvPr>
            <p:ph type="body" sz="quarter" idx="48" hasCustomPrompt="1"/>
          </p:nvPr>
        </p:nvSpPr>
        <p:spPr>
          <a:xfrm>
            <a:off x="9837216" y="3157438"/>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31" name="CVPictureRight_6">
            <a:extLst>
              <a:ext uri="{FF2B5EF4-FFF2-40B4-BE49-F238E27FC236}">
                <a16:creationId xmlns:a16="http://schemas.microsoft.com/office/drawing/2014/main" id="{8FBC70B4-A7C7-438E-A524-F92D792907AB}"/>
              </a:ext>
            </a:extLst>
          </p:cNvPr>
          <p:cNvSpPr>
            <a:spLocks noGrp="1"/>
          </p:cNvSpPr>
          <p:nvPr>
            <p:ph type="pic" sz="quarter" idx="49" hasCustomPrompt="1"/>
          </p:nvPr>
        </p:nvSpPr>
        <p:spPr>
          <a:xfrm>
            <a:off x="300039"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32" name="CVTitleRight_6">
            <a:extLst>
              <a:ext uri="{FF2B5EF4-FFF2-40B4-BE49-F238E27FC236}">
                <a16:creationId xmlns:a16="http://schemas.microsoft.com/office/drawing/2014/main" id="{FE9E8F97-FA47-48D5-8D6B-A82C80A2451F}"/>
              </a:ext>
            </a:extLst>
          </p:cNvPr>
          <p:cNvSpPr>
            <a:spLocks noGrp="1"/>
          </p:cNvSpPr>
          <p:nvPr>
            <p:ph type="body" sz="quarter" idx="50" hasCustomPrompt="1"/>
          </p:nvPr>
        </p:nvSpPr>
        <p:spPr>
          <a:xfrm>
            <a:off x="296045" y="5604741"/>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33" name="CVEmailRight_6">
            <a:extLst>
              <a:ext uri="{FF2B5EF4-FFF2-40B4-BE49-F238E27FC236}">
                <a16:creationId xmlns:a16="http://schemas.microsoft.com/office/drawing/2014/main" id="{D1FF2381-318C-439D-9852-3893C181C2FD}"/>
              </a:ext>
            </a:extLst>
          </p:cNvPr>
          <p:cNvSpPr>
            <a:spLocks noGrp="1"/>
          </p:cNvSpPr>
          <p:nvPr>
            <p:ph type="body" sz="quarter" idx="51" hasCustomPrompt="1"/>
          </p:nvPr>
        </p:nvSpPr>
        <p:spPr>
          <a:xfrm>
            <a:off x="292659" y="6019947"/>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34" name="CVNameRight_6">
            <a:extLst>
              <a:ext uri="{FF2B5EF4-FFF2-40B4-BE49-F238E27FC236}">
                <a16:creationId xmlns:a16="http://schemas.microsoft.com/office/drawing/2014/main" id="{50296751-A392-4A81-A090-588C7676A87A}"/>
              </a:ext>
            </a:extLst>
          </p:cNvPr>
          <p:cNvSpPr>
            <a:spLocks noGrp="1"/>
          </p:cNvSpPr>
          <p:nvPr>
            <p:ph type="body" sz="quarter" idx="52" hasCustomPrompt="1"/>
          </p:nvPr>
        </p:nvSpPr>
        <p:spPr>
          <a:xfrm>
            <a:off x="296045" y="5397298"/>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35" name="CVMobileRight_6">
            <a:extLst>
              <a:ext uri="{FF2B5EF4-FFF2-40B4-BE49-F238E27FC236}">
                <a16:creationId xmlns:a16="http://schemas.microsoft.com/office/drawing/2014/main" id="{0399513A-5974-49B1-80EE-EF8EFE426366}"/>
              </a:ext>
            </a:extLst>
          </p:cNvPr>
          <p:cNvSpPr>
            <a:spLocks noGrp="1"/>
          </p:cNvSpPr>
          <p:nvPr>
            <p:ph type="body" sz="quarter" idx="53" hasCustomPrompt="1"/>
          </p:nvPr>
        </p:nvSpPr>
        <p:spPr>
          <a:xfrm>
            <a:off x="292659" y="5809812"/>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36" name="CVPictureRight_7">
            <a:extLst>
              <a:ext uri="{FF2B5EF4-FFF2-40B4-BE49-F238E27FC236}">
                <a16:creationId xmlns:a16="http://schemas.microsoft.com/office/drawing/2014/main" id="{BD065431-9042-40BE-9A8C-B00B639C46CD}"/>
              </a:ext>
            </a:extLst>
          </p:cNvPr>
          <p:cNvSpPr>
            <a:spLocks noGrp="1"/>
          </p:cNvSpPr>
          <p:nvPr>
            <p:ph type="pic" sz="quarter" idx="54" hasCustomPrompt="1"/>
          </p:nvPr>
        </p:nvSpPr>
        <p:spPr>
          <a:xfrm>
            <a:off x="2686178"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37" name="CVTitleRight_7">
            <a:extLst>
              <a:ext uri="{FF2B5EF4-FFF2-40B4-BE49-F238E27FC236}">
                <a16:creationId xmlns:a16="http://schemas.microsoft.com/office/drawing/2014/main" id="{8810D830-921A-4398-A881-674A704C61BA}"/>
              </a:ext>
            </a:extLst>
          </p:cNvPr>
          <p:cNvSpPr>
            <a:spLocks noGrp="1"/>
          </p:cNvSpPr>
          <p:nvPr>
            <p:ph type="body" sz="quarter" idx="55" hasCustomPrompt="1"/>
          </p:nvPr>
        </p:nvSpPr>
        <p:spPr>
          <a:xfrm>
            <a:off x="2691646" y="5604741"/>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38" name="CVEmailRight_7">
            <a:extLst>
              <a:ext uri="{FF2B5EF4-FFF2-40B4-BE49-F238E27FC236}">
                <a16:creationId xmlns:a16="http://schemas.microsoft.com/office/drawing/2014/main" id="{6A854505-E794-4CBA-9AB2-8A9BA55D4E63}"/>
              </a:ext>
            </a:extLst>
          </p:cNvPr>
          <p:cNvSpPr>
            <a:spLocks noGrp="1"/>
          </p:cNvSpPr>
          <p:nvPr>
            <p:ph type="body" sz="quarter" idx="56" hasCustomPrompt="1"/>
          </p:nvPr>
        </p:nvSpPr>
        <p:spPr>
          <a:xfrm>
            <a:off x="2688260" y="6019947"/>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39" name="CVNameRight_7">
            <a:extLst>
              <a:ext uri="{FF2B5EF4-FFF2-40B4-BE49-F238E27FC236}">
                <a16:creationId xmlns:a16="http://schemas.microsoft.com/office/drawing/2014/main" id="{F359B48D-C988-416D-A04A-5D739185CBF2}"/>
              </a:ext>
            </a:extLst>
          </p:cNvPr>
          <p:cNvSpPr>
            <a:spLocks noGrp="1"/>
          </p:cNvSpPr>
          <p:nvPr>
            <p:ph type="body" sz="quarter" idx="57" hasCustomPrompt="1"/>
          </p:nvPr>
        </p:nvSpPr>
        <p:spPr>
          <a:xfrm>
            <a:off x="2691646" y="5397298"/>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40" name="CVMobileRight_7">
            <a:extLst>
              <a:ext uri="{FF2B5EF4-FFF2-40B4-BE49-F238E27FC236}">
                <a16:creationId xmlns:a16="http://schemas.microsoft.com/office/drawing/2014/main" id="{752E3D38-CF9F-4221-AD34-5AE56DCD0185}"/>
              </a:ext>
            </a:extLst>
          </p:cNvPr>
          <p:cNvSpPr>
            <a:spLocks noGrp="1"/>
          </p:cNvSpPr>
          <p:nvPr>
            <p:ph type="body" sz="quarter" idx="58" hasCustomPrompt="1"/>
          </p:nvPr>
        </p:nvSpPr>
        <p:spPr>
          <a:xfrm>
            <a:off x="2688260" y="5809812"/>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41" name="CVPictureRight_8">
            <a:extLst>
              <a:ext uri="{FF2B5EF4-FFF2-40B4-BE49-F238E27FC236}">
                <a16:creationId xmlns:a16="http://schemas.microsoft.com/office/drawing/2014/main" id="{E1B1D0EC-CEE7-4AF7-BA00-507A98F37FB5}"/>
              </a:ext>
            </a:extLst>
          </p:cNvPr>
          <p:cNvSpPr>
            <a:spLocks noGrp="1"/>
          </p:cNvSpPr>
          <p:nvPr>
            <p:ph type="pic" sz="quarter" idx="59" hasCustomPrompt="1"/>
          </p:nvPr>
        </p:nvSpPr>
        <p:spPr>
          <a:xfrm>
            <a:off x="5072317"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42" name="CVTitleRight_8">
            <a:extLst>
              <a:ext uri="{FF2B5EF4-FFF2-40B4-BE49-F238E27FC236}">
                <a16:creationId xmlns:a16="http://schemas.microsoft.com/office/drawing/2014/main" id="{10EF7283-3A37-41CE-AE09-8F2AB6332ED1}"/>
              </a:ext>
            </a:extLst>
          </p:cNvPr>
          <p:cNvSpPr>
            <a:spLocks noGrp="1"/>
          </p:cNvSpPr>
          <p:nvPr>
            <p:ph type="body" sz="quarter" idx="60" hasCustomPrompt="1"/>
          </p:nvPr>
        </p:nvSpPr>
        <p:spPr>
          <a:xfrm>
            <a:off x="5072317" y="5604741"/>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143" name="CVEmailRight_8">
            <a:extLst>
              <a:ext uri="{FF2B5EF4-FFF2-40B4-BE49-F238E27FC236}">
                <a16:creationId xmlns:a16="http://schemas.microsoft.com/office/drawing/2014/main" id="{01797044-926B-4180-8765-A23116A8B92C}"/>
              </a:ext>
            </a:extLst>
          </p:cNvPr>
          <p:cNvSpPr>
            <a:spLocks noGrp="1"/>
          </p:cNvSpPr>
          <p:nvPr>
            <p:ph type="body" sz="quarter" idx="61" hasCustomPrompt="1"/>
          </p:nvPr>
        </p:nvSpPr>
        <p:spPr>
          <a:xfrm>
            <a:off x="5068931" y="6019947"/>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144" name="CVNameRight_8">
            <a:extLst>
              <a:ext uri="{FF2B5EF4-FFF2-40B4-BE49-F238E27FC236}">
                <a16:creationId xmlns:a16="http://schemas.microsoft.com/office/drawing/2014/main" id="{0431986B-CDDB-4180-B3FC-AF0FB0191D4A}"/>
              </a:ext>
            </a:extLst>
          </p:cNvPr>
          <p:cNvSpPr>
            <a:spLocks noGrp="1"/>
          </p:cNvSpPr>
          <p:nvPr>
            <p:ph type="body" sz="quarter" idx="62" hasCustomPrompt="1"/>
          </p:nvPr>
        </p:nvSpPr>
        <p:spPr>
          <a:xfrm>
            <a:off x="5072317" y="5397298"/>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145" name="CVMobileRight_8">
            <a:extLst>
              <a:ext uri="{FF2B5EF4-FFF2-40B4-BE49-F238E27FC236}">
                <a16:creationId xmlns:a16="http://schemas.microsoft.com/office/drawing/2014/main" id="{1D425273-CF81-4EA0-A84E-DDC619DD0BE5}"/>
              </a:ext>
            </a:extLst>
          </p:cNvPr>
          <p:cNvSpPr>
            <a:spLocks noGrp="1"/>
          </p:cNvSpPr>
          <p:nvPr>
            <p:ph type="body" sz="quarter" idx="63" hasCustomPrompt="1"/>
          </p:nvPr>
        </p:nvSpPr>
        <p:spPr>
          <a:xfrm>
            <a:off x="5068931" y="5809812"/>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146" name="CVPictureRight_9">
            <a:extLst>
              <a:ext uri="{FF2B5EF4-FFF2-40B4-BE49-F238E27FC236}">
                <a16:creationId xmlns:a16="http://schemas.microsoft.com/office/drawing/2014/main" id="{F9DED195-F281-476E-86A2-D92B7A2229A0}"/>
              </a:ext>
            </a:extLst>
          </p:cNvPr>
          <p:cNvSpPr>
            <a:spLocks noGrp="1"/>
          </p:cNvSpPr>
          <p:nvPr>
            <p:ph type="pic" sz="quarter" idx="64" hasCustomPrompt="1"/>
          </p:nvPr>
        </p:nvSpPr>
        <p:spPr>
          <a:xfrm>
            <a:off x="7458456"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147" name="CVTitleRight_9">
            <a:extLst>
              <a:ext uri="{FF2B5EF4-FFF2-40B4-BE49-F238E27FC236}">
                <a16:creationId xmlns:a16="http://schemas.microsoft.com/office/drawing/2014/main" id="{2B232D61-DBEC-4673-B2D8-E87C952E0FB3}"/>
              </a:ext>
            </a:extLst>
          </p:cNvPr>
          <p:cNvSpPr>
            <a:spLocks noGrp="1"/>
          </p:cNvSpPr>
          <p:nvPr>
            <p:ph type="body" sz="quarter" idx="65" hasCustomPrompt="1"/>
          </p:nvPr>
        </p:nvSpPr>
        <p:spPr>
          <a:xfrm>
            <a:off x="7466178" y="5604741"/>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204" name="CVEmailRight_9">
            <a:extLst>
              <a:ext uri="{FF2B5EF4-FFF2-40B4-BE49-F238E27FC236}">
                <a16:creationId xmlns:a16="http://schemas.microsoft.com/office/drawing/2014/main" id="{1025E28D-0DC2-4D0E-AC53-FCE6AF2F0C24}"/>
              </a:ext>
            </a:extLst>
          </p:cNvPr>
          <p:cNvSpPr>
            <a:spLocks noGrp="1"/>
          </p:cNvSpPr>
          <p:nvPr>
            <p:ph type="body" sz="quarter" idx="66" hasCustomPrompt="1"/>
          </p:nvPr>
        </p:nvSpPr>
        <p:spPr>
          <a:xfrm>
            <a:off x="7462792" y="6019947"/>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205" name="CVNameRight_9">
            <a:extLst>
              <a:ext uri="{FF2B5EF4-FFF2-40B4-BE49-F238E27FC236}">
                <a16:creationId xmlns:a16="http://schemas.microsoft.com/office/drawing/2014/main" id="{95894047-2296-48BA-BCD1-283AD7BC07C4}"/>
              </a:ext>
            </a:extLst>
          </p:cNvPr>
          <p:cNvSpPr>
            <a:spLocks noGrp="1"/>
          </p:cNvSpPr>
          <p:nvPr>
            <p:ph type="body" sz="quarter" idx="67" hasCustomPrompt="1"/>
          </p:nvPr>
        </p:nvSpPr>
        <p:spPr>
          <a:xfrm>
            <a:off x="7466178" y="5397298"/>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206" name="CVMobileRight_9">
            <a:extLst>
              <a:ext uri="{FF2B5EF4-FFF2-40B4-BE49-F238E27FC236}">
                <a16:creationId xmlns:a16="http://schemas.microsoft.com/office/drawing/2014/main" id="{0FDE67C5-AEFD-4B42-901B-3DEDBE582885}"/>
              </a:ext>
            </a:extLst>
          </p:cNvPr>
          <p:cNvSpPr>
            <a:spLocks noGrp="1"/>
          </p:cNvSpPr>
          <p:nvPr>
            <p:ph type="body" sz="quarter" idx="68" hasCustomPrompt="1"/>
          </p:nvPr>
        </p:nvSpPr>
        <p:spPr>
          <a:xfrm>
            <a:off x="7462792" y="5809812"/>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
        <p:nvSpPr>
          <p:cNvPr id="207" name="CVPictureRight_10">
            <a:extLst>
              <a:ext uri="{FF2B5EF4-FFF2-40B4-BE49-F238E27FC236}">
                <a16:creationId xmlns:a16="http://schemas.microsoft.com/office/drawing/2014/main" id="{6C6E4873-CE32-4391-B3CE-32D4F45E7903}"/>
              </a:ext>
            </a:extLst>
          </p:cNvPr>
          <p:cNvSpPr>
            <a:spLocks noGrp="1"/>
          </p:cNvSpPr>
          <p:nvPr>
            <p:ph type="pic" sz="quarter" idx="69" hasCustomPrompt="1"/>
          </p:nvPr>
        </p:nvSpPr>
        <p:spPr>
          <a:xfrm>
            <a:off x="9844596" y="3777912"/>
            <a:ext cx="1223453" cy="1522519"/>
          </a:xfrm>
          <a:prstGeom prst="rect">
            <a:avLst/>
          </a:prstGeom>
          <a:solidFill>
            <a:schemeClr val="accent5"/>
          </a:solidFill>
        </p:spPr>
        <p:txBody>
          <a:bodyPr lIns="72000" tIns="720000" rIns="72000" bIns="1584000" anchor="ctr" anchorCtr="0">
            <a:noAutofit/>
          </a:bodyPr>
          <a:lstStyle>
            <a:lvl1pPr algn="ctr">
              <a:defRPr sz="800" b="0" baseline="0">
                <a:solidFill>
                  <a:schemeClr val="bg1"/>
                </a:solidFill>
              </a:defRPr>
            </a:lvl1pPr>
          </a:lstStyle>
          <a:p>
            <a:r>
              <a:rPr lang="en-GB"/>
              <a:t>Select picture placeholder and go to Ribbon &gt; Loyens &amp; Loeff Tab &gt; Insert CV data button</a:t>
            </a:r>
          </a:p>
        </p:txBody>
      </p:sp>
      <p:sp>
        <p:nvSpPr>
          <p:cNvPr id="208" name="CVTitleRight_10">
            <a:extLst>
              <a:ext uri="{FF2B5EF4-FFF2-40B4-BE49-F238E27FC236}">
                <a16:creationId xmlns:a16="http://schemas.microsoft.com/office/drawing/2014/main" id="{133AEA60-3830-467B-AE3B-115C198494B4}"/>
              </a:ext>
            </a:extLst>
          </p:cNvPr>
          <p:cNvSpPr>
            <a:spLocks noGrp="1"/>
          </p:cNvSpPr>
          <p:nvPr>
            <p:ph type="body" sz="quarter" idx="70" hasCustomPrompt="1"/>
          </p:nvPr>
        </p:nvSpPr>
        <p:spPr>
          <a:xfrm>
            <a:off x="9840602" y="5604741"/>
            <a:ext cx="2055539" cy="138499"/>
          </a:xfrm>
          <a:prstGeom prst="rect">
            <a:avLst/>
          </a:prstGeom>
        </p:spPr>
        <p:txBody>
          <a:bodyPr vert="horz" wrap="square" lIns="0" tIns="0" rIns="0" bIns="0">
            <a:spAutoFit/>
          </a:bodyPr>
          <a:lstStyle>
            <a:lvl1pPr marL="0" indent="0">
              <a:buNone/>
              <a:defRPr sz="900" b="1" baseline="0">
                <a:solidFill>
                  <a:schemeClr val="accent2"/>
                </a:solidFill>
                <a:latin typeface="Arial" pitchFamily="34" charset="0"/>
                <a:cs typeface="Arial" pitchFamily="34" charset="0"/>
              </a:defRPr>
            </a:lvl1pPr>
          </a:lstStyle>
          <a:p>
            <a:pPr lvl="0"/>
            <a:r>
              <a:rPr lang="en-GB" noProof="0"/>
              <a:t>Title (1 row max)</a:t>
            </a:r>
          </a:p>
        </p:txBody>
      </p:sp>
      <p:sp>
        <p:nvSpPr>
          <p:cNvPr id="209" name="CVEmailRight_10">
            <a:extLst>
              <a:ext uri="{FF2B5EF4-FFF2-40B4-BE49-F238E27FC236}">
                <a16:creationId xmlns:a16="http://schemas.microsoft.com/office/drawing/2014/main" id="{CD51A1D4-DBF2-4B34-9628-93AC1AFF6D00}"/>
              </a:ext>
            </a:extLst>
          </p:cNvPr>
          <p:cNvSpPr>
            <a:spLocks noGrp="1"/>
          </p:cNvSpPr>
          <p:nvPr>
            <p:ph type="body" sz="quarter" idx="71" hasCustomPrompt="1"/>
          </p:nvPr>
        </p:nvSpPr>
        <p:spPr>
          <a:xfrm>
            <a:off x="9837216" y="6019947"/>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Email address</a:t>
            </a:r>
          </a:p>
        </p:txBody>
      </p:sp>
      <p:sp>
        <p:nvSpPr>
          <p:cNvPr id="210" name="CVNameRight_10">
            <a:extLst>
              <a:ext uri="{FF2B5EF4-FFF2-40B4-BE49-F238E27FC236}">
                <a16:creationId xmlns:a16="http://schemas.microsoft.com/office/drawing/2014/main" id="{2C24FF47-4F01-4374-986F-964C037493AC}"/>
              </a:ext>
            </a:extLst>
          </p:cNvPr>
          <p:cNvSpPr>
            <a:spLocks noGrp="1"/>
          </p:cNvSpPr>
          <p:nvPr>
            <p:ph type="body" sz="quarter" idx="72" hasCustomPrompt="1"/>
          </p:nvPr>
        </p:nvSpPr>
        <p:spPr>
          <a:xfrm>
            <a:off x="9840602" y="5397298"/>
            <a:ext cx="2055539" cy="138499"/>
          </a:xfrm>
          <a:prstGeom prst="rect">
            <a:avLst/>
          </a:prstGeom>
        </p:spPr>
        <p:txBody>
          <a:bodyPr vert="horz" wrap="square" lIns="0" tIns="0" rIns="0" bIns="0">
            <a:spAutoFit/>
          </a:bodyPr>
          <a:lstStyle>
            <a:lvl1pPr marL="0" indent="0">
              <a:spcBef>
                <a:spcPts val="0"/>
              </a:spcBef>
              <a:buNone/>
              <a:defRPr sz="900" b="1" baseline="0">
                <a:solidFill>
                  <a:schemeClr val="bg2"/>
                </a:solidFill>
                <a:latin typeface="Arial" pitchFamily="34" charset="0"/>
                <a:cs typeface="Arial" pitchFamily="34" charset="0"/>
              </a:defRPr>
            </a:lvl1pPr>
          </a:lstStyle>
          <a:p>
            <a:pPr lvl="0"/>
            <a:r>
              <a:rPr lang="en-GB" noProof="0"/>
              <a:t>Name</a:t>
            </a:r>
          </a:p>
        </p:txBody>
      </p:sp>
      <p:sp>
        <p:nvSpPr>
          <p:cNvPr id="211" name="CVMobileRight_10">
            <a:extLst>
              <a:ext uri="{FF2B5EF4-FFF2-40B4-BE49-F238E27FC236}">
                <a16:creationId xmlns:a16="http://schemas.microsoft.com/office/drawing/2014/main" id="{5B198424-6B8E-4317-A804-680B0211EF7F}"/>
              </a:ext>
            </a:extLst>
          </p:cNvPr>
          <p:cNvSpPr>
            <a:spLocks noGrp="1"/>
          </p:cNvSpPr>
          <p:nvPr>
            <p:ph type="body" sz="quarter" idx="73" hasCustomPrompt="1"/>
          </p:nvPr>
        </p:nvSpPr>
        <p:spPr>
          <a:xfrm>
            <a:off x="9837216" y="5809812"/>
            <a:ext cx="2055539" cy="138499"/>
          </a:xfrm>
          <a:prstGeom prst="rect">
            <a:avLst/>
          </a:prstGeom>
        </p:spPr>
        <p:txBody>
          <a:bodyPr vert="horz" wrap="square" lIns="0" tIns="0" rIns="0" bIns="0">
            <a:spAutoFit/>
          </a:bodyPr>
          <a:lstStyle>
            <a:lvl1pPr marL="0" indent="0">
              <a:lnSpc>
                <a:spcPct val="100000"/>
              </a:lnSpc>
              <a:spcBef>
                <a:spcPts val="0"/>
              </a:spcBef>
              <a:buNone/>
              <a:defRPr sz="900" b="0">
                <a:solidFill>
                  <a:schemeClr val="accent4"/>
                </a:solidFill>
                <a:latin typeface="+mn-lt"/>
                <a:cs typeface="Arial" pitchFamily="34" charset="0"/>
              </a:defRPr>
            </a:lvl1pPr>
          </a:lstStyle>
          <a:p>
            <a:pPr lvl="0"/>
            <a:r>
              <a:rPr lang="en-GB" noProof="0"/>
              <a:t>Mobile phone number</a:t>
            </a:r>
          </a:p>
        </p:txBody>
      </p:sp>
    </p:spTree>
    <p:extLst>
      <p:ext uri="{BB962C8B-B14F-4D97-AF65-F5344CB8AC3E}">
        <p14:creationId xmlns:p14="http://schemas.microsoft.com/office/powerpoint/2010/main" val="2310830050"/>
      </p:ext>
    </p:extLst>
  </p:cSld>
  <p:clrMapOvr>
    <a:masterClrMapping/>
  </p:clrMapOvr>
  <p:extLst>
    <p:ext uri="{DCECCB84-F9BA-43D5-87BE-67443E8EF086}">
      <p15:sldGuideLst xmlns:p15="http://schemas.microsoft.com/office/powerpoint/2012/main">
        <p15:guide id="1" pos="3840">
          <p15:clr>
            <a:srgbClr val="FBAE40"/>
          </p15:clr>
        </p15:guide>
        <p15:guide id="2" orient="horz" pos="2341">
          <p15:clr>
            <a:srgbClr val="FBAE40"/>
          </p15:clr>
        </p15:guide>
        <p15:guide id="3" pos="3659">
          <p15:clr>
            <a:srgbClr val="FBAE40"/>
          </p15:clr>
        </p15:guide>
        <p15:guide id="4" pos="4021">
          <p15:clr>
            <a:srgbClr val="FBAE40"/>
          </p15:clr>
        </p15:guide>
        <p15:guide id="5" pos="5790">
          <p15:clr>
            <a:srgbClr val="FBAE40"/>
          </p15:clr>
        </p15:guide>
        <p15:guide id="6" pos="7061">
          <p15:clr>
            <a:srgbClr val="FBAE40"/>
          </p15:clr>
        </p15:guide>
        <p15:guide id="7" pos="7491">
          <p15:clr>
            <a:srgbClr val="FBAE40"/>
          </p15:clr>
        </p15:guide>
        <p15:guide id="8" pos="619">
          <p15:clr>
            <a:srgbClr val="FBAE40"/>
          </p15:clr>
        </p15:guide>
        <p15:guide id="9" pos="189">
          <p15:clr>
            <a:srgbClr val="FBAE40"/>
          </p15:clr>
        </p15:guide>
        <p15:guide id="10" orient="horz" pos="709">
          <p15:clr>
            <a:srgbClr val="FBAE40"/>
          </p15:clr>
        </p15:guide>
        <p15:guide id="11" orient="horz" pos="187">
          <p15:clr>
            <a:srgbClr val="FBAE40"/>
          </p15:clr>
        </p15:guide>
        <p15:guide id="12" orient="horz" pos="397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4_LL Covershee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id="{43B51075-4902-98B8-46C7-2168D6E0FDA2}"/>
              </a:ext>
            </a:extLst>
          </p:cNvPr>
          <p:cNvSpPr>
            <a:spLocks noGrp="1"/>
          </p:cNvSpPr>
          <p:nvPr>
            <p:ph type="pic" sz="quarter" idx="13" hasCustomPrompt="1"/>
          </p:nvPr>
        </p:nvSpPr>
        <p:spPr>
          <a:xfrm>
            <a:off x="4138727" y="980919"/>
            <a:ext cx="7792847" cy="5620148"/>
          </a:xfrm>
          <a:custGeom>
            <a:avLst/>
            <a:gdLst>
              <a:gd name="connsiteX0" fmla="*/ 503284 w 7792847"/>
              <a:gd name="connsiteY0" fmla="*/ 0 h 5620148"/>
              <a:gd name="connsiteX1" fmla="*/ 7792847 w 7792847"/>
              <a:gd name="connsiteY1" fmla="*/ 0 h 5620148"/>
              <a:gd name="connsiteX2" fmla="*/ 7792847 w 7792847"/>
              <a:gd name="connsiteY2" fmla="*/ 38451 h 5620148"/>
              <a:gd name="connsiteX3" fmla="*/ 7792847 w 7792847"/>
              <a:gd name="connsiteY3" fmla="*/ 5581697 h 5620148"/>
              <a:gd name="connsiteX4" fmla="*/ 7792847 w 7792847"/>
              <a:gd name="connsiteY4" fmla="*/ 5620148 h 5620148"/>
              <a:gd name="connsiteX5" fmla="*/ 0 w 7792847"/>
              <a:gd name="connsiteY5" fmla="*/ 5620148 h 5620148"/>
              <a:gd name="connsiteX6" fmla="*/ 0 w 7792847"/>
              <a:gd name="connsiteY6" fmla="*/ 5581697 h 5620148"/>
              <a:gd name="connsiteX7" fmla="*/ 0 w 7792847"/>
              <a:gd name="connsiteY7" fmla="*/ 538855 h 5620148"/>
              <a:gd name="connsiteX8" fmla="*/ 0 w 7792847"/>
              <a:gd name="connsiteY8" fmla="*/ 500404 h 5620148"/>
              <a:gd name="connsiteX9" fmla="*/ 503284 w 7792847"/>
              <a:gd name="connsiteY9" fmla="*/ 0 h 56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2847" h="5620148">
                <a:moveTo>
                  <a:pt x="503284" y="0"/>
                </a:moveTo>
                <a:lnTo>
                  <a:pt x="7792847" y="0"/>
                </a:lnTo>
                <a:lnTo>
                  <a:pt x="7792847" y="38451"/>
                </a:lnTo>
                <a:lnTo>
                  <a:pt x="7792847" y="5581697"/>
                </a:lnTo>
                <a:lnTo>
                  <a:pt x="7792847" y="5620148"/>
                </a:lnTo>
                <a:lnTo>
                  <a:pt x="0" y="5620148"/>
                </a:lnTo>
                <a:lnTo>
                  <a:pt x="0" y="5581697"/>
                </a:lnTo>
                <a:lnTo>
                  <a:pt x="0" y="538855"/>
                </a:lnTo>
                <a:lnTo>
                  <a:pt x="0" y="500404"/>
                </a:lnTo>
                <a:cubicBezTo>
                  <a:pt x="355" y="224035"/>
                  <a:pt x="225533" y="139"/>
                  <a:pt x="503284" y="0"/>
                </a:cubicBezTo>
                <a:close/>
              </a:path>
            </a:pathLst>
          </a:custGeom>
          <a:solidFill>
            <a:schemeClr val="bg1">
              <a:lumMod val="75000"/>
            </a:schemeClr>
          </a:solidFill>
        </p:spPr>
        <p:txBody>
          <a:bodyPr wrap="square" lIns="2304000" tIns="1368000" rIns="2304000" bIns="0" anchor="ctr" anchorCtr="0">
            <a:noAutofit/>
          </a:bodyPr>
          <a:lstStyle>
            <a:lvl1pPr algn="ctr">
              <a:defRPr sz="1400" b="0" baseline="0">
                <a:solidFill>
                  <a:schemeClr val="bg1"/>
                </a:solidFill>
              </a:defRPr>
            </a:lvl1pPr>
          </a:lstStyle>
          <a:p>
            <a:r>
              <a:rPr lang="en-GB"/>
              <a:t>Click ‘Insert picture’-button and select picture from SharePoint, or choose a ready-to-go slide from the library</a:t>
            </a:r>
          </a:p>
        </p:txBody>
      </p:sp>
      <p:sp>
        <p:nvSpPr>
          <p:cNvPr id="37" name="Freeform: Shape 36">
            <a:extLst>
              <a:ext uri="{FF2B5EF4-FFF2-40B4-BE49-F238E27FC236}">
                <a16:creationId xmlns:a16="http://schemas.microsoft.com/office/drawing/2014/main" id="{391A9510-5722-C883-E5EF-4AEB5DA23647}"/>
              </a:ext>
            </a:extLst>
          </p:cNvPr>
          <p:cNvSpPr/>
          <p:nvPr userDrawn="1"/>
        </p:nvSpPr>
        <p:spPr>
          <a:xfrm>
            <a:off x="263506" y="980997"/>
            <a:ext cx="3877301" cy="5620071"/>
          </a:xfrm>
          <a:custGeom>
            <a:avLst/>
            <a:gdLst>
              <a:gd name="connsiteX0" fmla="*/ 0 w 3877301"/>
              <a:gd name="connsiteY0" fmla="*/ 0 h 5620071"/>
              <a:gd name="connsiteX1" fmla="*/ 3374528 w 3877301"/>
              <a:gd name="connsiteY1" fmla="*/ 0 h 5620071"/>
              <a:gd name="connsiteX2" fmla="*/ 3877301 w 3877301"/>
              <a:gd name="connsiteY2" fmla="*/ 500404 h 5620071"/>
              <a:gd name="connsiteX3" fmla="*/ 3877301 w 3877301"/>
              <a:gd name="connsiteY3" fmla="*/ 538778 h 5620071"/>
              <a:gd name="connsiteX4" fmla="*/ 3877301 w 3877301"/>
              <a:gd name="connsiteY4" fmla="*/ 5581697 h 5620071"/>
              <a:gd name="connsiteX5" fmla="*/ 3877301 w 3877301"/>
              <a:gd name="connsiteY5" fmla="*/ 5620071 h 5620071"/>
              <a:gd name="connsiteX6" fmla="*/ 502646 w 3877301"/>
              <a:gd name="connsiteY6" fmla="*/ 5620071 h 5620071"/>
              <a:gd name="connsiteX7" fmla="*/ 0 w 3877301"/>
              <a:gd name="connsiteY7" fmla="*/ 5119036 h 5620071"/>
              <a:gd name="connsiteX8" fmla="*/ 0 w 3877301"/>
              <a:gd name="connsiteY8" fmla="*/ 5080662 h 5620071"/>
              <a:gd name="connsiteX9" fmla="*/ 0 w 3877301"/>
              <a:gd name="connsiteY9" fmla="*/ 38374 h 562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7301" h="5620071">
                <a:moveTo>
                  <a:pt x="0" y="0"/>
                </a:moveTo>
                <a:lnTo>
                  <a:pt x="3374528" y="0"/>
                </a:lnTo>
                <a:cubicBezTo>
                  <a:pt x="3651965" y="-140"/>
                  <a:pt x="3877022" y="223859"/>
                  <a:pt x="3877301" y="500404"/>
                </a:cubicBezTo>
                <a:lnTo>
                  <a:pt x="3877301" y="538778"/>
                </a:lnTo>
                <a:lnTo>
                  <a:pt x="3877301" y="5581697"/>
                </a:lnTo>
                <a:lnTo>
                  <a:pt x="3877301" y="5620071"/>
                </a:lnTo>
                <a:lnTo>
                  <a:pt x="502646" y="5620071"/>
                </a:lnTo>
                <a:cubicBezTo>
                  <a:pt x="225042" y="5620071"/>
                  <a:pt x="0" y="5395748"/>
                  <a:pt x="0" y="5119036"/>
                </a:cubicBezTo>
                <a:lnTo>
                  <a:pt x="0" y="5080662"/>
                </a:lnTo>
                <a:lnTo>
                  <a:pt x="0" y="38374"/>
                </a:lnTo>
                <a:close/>
              </a:path>
            </a:pathLst>
          </a:custGeom>
          <a:gradFill>
            <a:gsLst>
              <a:gs pos="0">
                <a:srgbClr val="0078B6"/>
              </a:gs>
              <a:gs pos="100000">
                <a:schemeClr val="bg2"/>
              </a:gs>
            </a:gsLst>
            <a:lin ang="5400000" scaled="1"/>
          </a:gradFill>
          <a:ln w="12638" cap="flat">
            <a:noFill/>
            <a:prstDash val="solid"/>
            <a:miter/>
          </a:ln>
        </p:spPr>
        <p:txBody>
          <a:bodyPr rtlCol="0" anchor="ctr"/>
          <a:lstStyle/>
          <a:p>
            <a:endParaRPr lang="en-GB"/>
          </a:p>
        </p:txBody>
      </p:sp>
      <p:sp>
        <p:nvSpPr>
          <p:cNvPr id="3" name="Ondertitel 2"/>
          <p:cNvSpPr>
            <a:spLocks noGrp="1"/>
          </p:cNvSpPr>
          <p:nvPr>
            <p:ph type="subTitle" idx="1" hasCustomPrompt="1"/>
          </p:nvPr>
        </p:nvSpPr>
        <p:spPr>
          <a:xfrm>
            <a:off x="730675" y="3156632"/>
            <a:ext cx="3169081" cy="215444"/>
          </a:xfrm>
          <a:prstGeom prst="rect">
            <a:avLst/>
          </a:prstGeom>
        </p:spPr>
        <p:txBody>
          <a:bodyPr wrap="square" anchor="t" anchorCtr="0">
            <a:spAutoFit/>
          </a:bodyPr>
          <a:lstStyle>
            <a:lvl1pPr marL="0" indent="0" algn="l">
              <a:lnSpc>
                <a:spcPct val="100000"/>
              </a:lnSpc>
              <a:spcBef>
                <a:spcPts val="0"/>
              </a:spcBef>
              <a:buNone/>
              <a:defRPr sz="1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Sub title style</a:t>
            </a:r>
            <a:endParaRPr lang="en-GB"/>
          </a:p>
        </p:txBody>
      </p:sp>
      <p:sp>
        <p:nvSpPr>
          <p:cNvPr id="33" name="Text Placeholder 32"/>
          <p:cNvSpPr>
            <a:spLocks noGrp="1"/>
          </p:cNvSpPr>
          <p:nvPr>
            <p:ph type="body" sz="quarter" idx="14" hasCustomPrompt="1"/>
          </p:nvPr>
        </p:nvSpPr>
        <p:spPr>
          <a:xfrm>
            <a:off x="730675" y="5506082"/>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a:t>Name </a:t>
            </a:r>
            <a:r>
              <a:rPr lang="en-GB" err="1"/>
              <a:t>presentor</a:t>
            </a:r>
            <a:r>
              <a:rPr lang="en-GB"/>
              <a:t>(s)</a:t>
            </a:r>
          </a:p>
        </p:txBody>
      </p:sp>
      <p:grpSp>
        <p:nvGrpSpPr>
          <p:cNvPr id="10" name="Group 9">
            <a:extLst>
              <a:ext uri="{FF2B5EF4-FFF2-40B4-BE49-F238E27FC236}">
                <a16:creationId xmlns:a16="http://schemas.microsoft.com/office/drawing/2014/main" id="{DD0F3853-5A1D-DAC4-3918-11AC27A1A23D}"/>
              </a:ext>
            </a:extLst>
          </p:cNvPr>
          <p:cNvGrpSpPr/>
          <p:nvPr userDrawn="1"/>
        </p:nvGrpSpPr>
        <p:grpSpPr>
          <a:xfrm>
            <a:off x="740197" y="277699"/>
            <a:ext cx="2003339" cy="504460"/>
            <a:chOff x="756000" y="277699"/>
            <a:chExt cx="2003339" cy="504460"/>
          </a:xfrm>
        </p:grpSpPr>
        <p:grpSp>
          <p:nvGrpSpPr>
            <p:cNvPr id="11" name="Graphic 3">
              <a:extLst>
                <a:ext uri="{FF2B5EF4-FFF2-40B4-BE49-F238E27FC236}">
                  <a16:creationId xmlns:a16="http://schemas.microsoft.com/office/drawing/2014/main" id="{5A939B7B-93C4-1864-4488-C70AF692FABC}"/>
                </a:ext>
              </a:extLst>
            </p:cNvPr>
            <p:cNvGrpSpPr/>
            <p:nvPr/>
          </p:nvGrpSpPr>
          <p:grpSpPr>
            <a:xfrm>
              <a:off x="756000" y="277699"/>
              <a:ext cx="2003339" cy="317260"/>
              <a:chOff x="756000" y="277699"/>
              <a:chExt cx="2003339" cy="317260"/>
            </a:xfrm>
            <a:solidFill>
              <a:srgbClr val="06357A"/>
            </a:solidFill>
          </p:grpSpPr>
          <p:sp>
            <p:nvSpPr>
              <p:cNvPr id="20" name="Freeform: Shape 19">
                <a:extLst>
                  <a:ext uri="{FF2B5EF4-FFF2-40B4-BE49-F238E27FC236}">
                    <a16:creationId xmlns:a16="http://schemas.microsoft.com/office/drawing/2014/main" id="{CD918745-4D52-E465-CB0D-F7E8B6BE9552}"/>
                  </a:ext>
                </a:extLst>
              </p:cNvPr>
              <p:cNvSpPr/>
              <p:nvPr/>
            </p:nvSpPr>
            <p:spPr>
              <a:xfrm>
                <a:off x="1749419" y="277699"/>
                <a:ext cx="204419" cy="317260"/>
              </a:xfrm>
              <a:custGeom>
                <a:avLst/>
                <a:gdLst>
                  <a:gd name="connsiteX0" fmla="*/ 182820 w 204419"/>
                  <a:gd name="connsiteY0" fmla="*/ 300101 h 317260"/>
                  <a:gd name="connsiteX1" fmla="*/ 69060 w 204419"/>
                  <a:gd name="connsiteY1" fmla="*/ 300101 h 317260"/>
                  <a:gd name="connsiteX2" fmla="*/ 69300 w 204419"/>
                  <a:gd name="connsiteY2" fmla="*/ 297761 h 317260"/>
                  <a:gd name="connsiteX3" fmla="*/ 85740 w 204419"/>
                  <a:gd name="connsiteY3" fmla="*/ 195461 h 317260"/>
                  <a:gd name="connsiteX4" fmla="*/ 102840 w 204419"/>
                  <a:gd name="connsiteY4" fmla="*/ 176141 h 317260"/>
                  <a:gd name="connsiteX5" fmla="*/ 85560 w 204419"/>
                  <a:gd name="connsiteY5" fmla="*/ 285401 h 317260"/>
                  <a:gd name="connsiteX6" fmla="*/ 85440 w 204419"/>
                  <a:gd name="connsiteY6" fmla="*/ 286541 h 317260"/>
                  <a:gd name="connsiteX7" fmla="*/ 93960 w 204419"/>
                  <a:gd name="connsiteY7" fmla="*/ 286541 h 317260"/>
                  <a:gd name="connsiteX8" fmla="*/ 93960 w 204419"/>
                  <a:gd name="connsiteY8" fmla="*/ 286721 h 317260"/>
                  <a:gd name="connsiteX9" fmla="*/ 184620 w 204419"/>
                  <a:gd name="connsiteY9" fmla="*/ 286721 h 317260"/>
                  <a:gd name="connsiteX10" fmla="*/ 182820 w 204419"/>
                  <a:gd name="connsiteY10" fmla="*/ 300101 h 317260"/>
                  <a:gd name="connsiteX11" fmla="*/ 136920 w 204419"/>
                  <a:gd name="connsiteY11" fmla="*/ 66101 h 317260"/>
                  <a:gd name="connsiteX12" fmla="*/ 138060 w 204419"/>
                  <a:gd name="connsiteY12" fmla="*/ 61601 h 317260"/>
                  <a:gd name="connsiteX13" fmla="*/ 172980 w 204419"/>
                  <a:gd name="connsiteY13" fmla="*/ 5501 h 317260"/>
                  <a:gd name="connsiteX14" fmla="*/ 190140 w 204419"/>
                  <a:gd name="connsiteY14" fmla="*/ 12581 h 317260"/>
                  <a:gd name="connsiteX15" fmla="*/ 129360 w 204419"/>
                  <a:gd name="connsiteY15" fmla="*/ 135101 h 317260"/>
                  <a:gd name="connsiteX16" fmla="*/ 124920 w 204419"/>
                  <a:gd name="connsiteY16" fmla="*/ 139421 h 317260"/>
                  <a:gd name="connsiteX17" fmla="*/ 136920 w 204419"/>
                  <a:gd name="connsiteY17" fmla="*/ 66101 h 317260"/>
                  <a:gd name="connsiteX18" fmla="*/ 104880 w 204419"/>
                  <a:gd name="connsiteY18" fmla="*/ 269501 h 317260"/>
                  <a:gd name="connsiteX19" fmla="*/ 123420 w 204419"/>
                  <a:gd name="connsiteY19" fmla="*/ 152861 h 317260"/>
                  <a:gd name="connsiteX20" fmla="*/ 130020 w 204419"/>
                  <a:gd name="connsiteY20" fmla="*/ 145061 h 317260"/>
                  <a:gd name="connsiteX21" fmla="*/ 193860 w 204419"/>
                  <a:gd name="connsiteY21" fmla="*/ 11201 h 317260"/>
                  <a:gd name="connsiteX22" fmla="*/ 171000 w 204419"/>
                  <a:gd name="connsiteY22" fmla="*/ 2141 h 317260"/>
                  <a:gd name="connsiteX23" fmla="*/ 130800 w 204419"/>
                  <a:gd name="connsiteY23" fmla="*/ 51461 h 317260"/>
                  <a:gd name="connsiteX24" fmla="*/ 127620 w 204419"/>
                  <a:gd name="connsiteY24" fmla="*/ 59141 h 317260"/>
                  <a:gd name="connsiteX25" fmla="*/ 106860 w 204419"/>
                  <a:gd name="connsiteY25" fmla="*/ 150341 h 317260"/>
                  <a:gd name="connsiteX26" fmla="*/ 105900 w 204419"/>
                  <a:gd name="connsiteY26" fmla="*/ 156281 h 317260"/>
                  <a:gd name="connsiteX27" fmla="*/ 88980 w 204419"/>
                  <a:gd name="connsiteY27" fmla="*/ 175361 h 317260"/>
                  <a:gd name="connsiteX28" fmla="*/ 103140 w 204419"/>
                  <a:gd name="connsiteY28" fmla="*/ 87341 h 317260"/>
                  <a:gd name="connsiteX29" fmla="*/ 69180 w 204419"/>
                  <a:gd name="connsiteY29" fmla="*/ 87341 h 317260"/>
                  <a:gd name="connsiteX30" fmla="*/ 68400 w 204419"/>
                  <a:gd name="connsiteY30" fmla="*/ 91181 h 317260"/>
                  <a:gd name="connsiteX31" fmla="*/ 79320 w 204419"/>
                  <a:gd name="connsiteY31" fmla="*/ 91541 h 317260"/>
                  <a:gd name="connsiteX32" fmla="*/ 84300 w 204419"/>
                  <a:gd name="connsiteY32" fmla="*/ 95861 h 317260"/>
                  <a:gd name="connsiteX33" fmla="*/ 84240 w 204419"/>
                  <a:gd name="connsiteY33" fmla="*/ 98441 h 317260"/>
                  <a:gd name="connsiteX34" fmla="*/ 68100 w 204419"/>
                  <a:gd name="connsiteY34" fmla="*/ 198821 h 317260"/>
                  <a:gd name="connsiteX35" fmla="*/ 3360 w 204419"/>
                  <a:gd name="connsiteY35" fmla="*/ 272021 h 317260"/>
                  <a:gd name="connsiteX36" fmla="*/ 0 w 204419"/>
                  <a:gd name="connsiteY36" fmla="*/ 292241 h 317260"/>
                  <a:gd name="connsiteX37" fmla="*/ 64920 w 204419"/>
                  <a:gd name="connsiteY37" fmla="*/ 218921 h 317260"/>
                  <a:gd name="connsiteX38" fmla="*/ 49080 w 204419"/>
                  <a:gd name="connsiteY38" fmla="*/ 317201 h 317260"/>
                  <a:gd name="connsiteX39" fmla="*/ 197880 w 204419"/>
                  <a:gd name="connsiteY39" fmla="*/ 317261 h 317260"/>
                  <a:gd name="connsiteX40" fmla="*/ 204420 w 204419"/>
                  <a:gd name="connsiteY40" fmla="*/ 269441 h 317260"/>
                  <a:gd name="connsiteX41" fmla="*/ 104880 w 204419"/>
                  <a:gd name="connsiteY41" fmla="*/ 269441 h 3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4419" h="317260">
                    <a:moveTo>
                      <a:pt x="182820" y="300101"/>
                    </a:moveTo>
                    <a:lnTo>
                      <a:pt x="69060" y="300101"/>
                    </a:lnTo>
                    <a:cubicBezTo>
                      <a:pt x="69060" y="299741"/>
                      <a:pt x="69420" y="297761"/>
                      <a:pt x="69300" y="297761"/>
                    </a:cubicBezTo>
                    <a:lnTo>
                      <a:pt x="85740" y="195461"/>
                    </a:lnTo>
                    <a:lnTo>
                      <a:pt x="102840" y="176141"/>
                    </a:lnTo>
                    <a:lnTo>
                      <a:pt x="85560" y="285401"/>
                    </a:lnTo>
                    <a:cubicBezTo>
                      <a:pt x="85500" y="285701"/>
                      <a:pt x="85500" y="286181"/>
                      <a:pt x="85440" y="286541"/>
                    </a:cubicBezTo>
                    <a:lnTo>
                      <a:pt x="93960" y="286541"/>
                    </a:lnTo>
                    <a:lnTo>
                      <a:pt x="93960" y="286721"/>
                    </a:lnTo>
                    <a:lnTo>
                      <a:pt x="184620" y="286721"/>
                    </a:lnTo>
                    <a:lnTo>
                      <a:pt x="182820" y="300101"/>
                    </a:lnTo>
                    <a:close/>
                    <a:moveTo>
                      <a:pt x="136920" y="66101"/>
                    </a:moveTo>
                    <a:lnTo>
                      <a:pt x="138060" y="61601"/>
                    </a:lnTo>
                    <a:cubicBezTo>
                      <a:pt x="141420" y="46361"/>
                      <a:pt x="156900" y="12401"/>
                      <a:pt x="172980" y="5501"/>
                    </a:cubicBezTo>
                    <a:cubicBezTo>
                      <a:pt x="181020" y="2021"/>
                      <a:pt x="186420" y="3881"/>
                      <a:pt x="190140" y="12581"/>
                    </a:cubicBezTo>
                    <a:cubicBezTo>
                      <a:pt x="200700" y="37001"/>
                      <a:pt x="171540" y="94001"/>
                      <a:pt x="129360" y="135101"/>
                    </a:cubicBezTo>
                    <a:cubicBezTo>
                      <a:pt x="128940" y="135701"/>
                      <a:pt x="124920" y="139961"/>
                      <a:pt x="124920" y="139421"/>
                    </a:cubicBezTo>
                    <a:cubicBezTo>
                      <a:pt x="128580" y="118481"/>
                      <a:pt x="131580" y="90101"/>
                      <a:pt x="136920" y="66101"/>
                    </a:cubicBezTo>
                    <a:moveTo>
                      <a:pt x="104880" y="269501"/>
                    </a:moveTo>
                    <a:lnTo>
                      <a:pt x="123420" y="152861"/>
                    </a:lnTo>
                    <a:cubicBezTo>
                      <a:pt x="123420" y="152861"/>
                      <a:pt x="128880" y="146201"/>
                      <a:pt x="130020" y="145061"/>
                    </a:cubicBezTo>
                    <a:cubicBezTo>
                      <a:pt x="169020" y="104561"/>
                      <a:pt x="207540" y="42701"/>
                      <a:pt x="193860" y="11201"/>
                    </a:cubicBezTo>
                    <a:cubicBezTo>
                      <a:pt x="189300" y="581"/>
                      <a:pt x="181920" y="-2599"/>
                      <a:pt x="171000" y="2141"/>
                    </a:cubicBezTo>
                    <a:cubicBezTo>
                      <a:pt x="153000" y="9941"/>
                      <a:pt x="136980" y="35501"/>
                      <a:pt x="130800" y="51461"/>
                    </a:cubicBezTo>
                    <a:cubicBezTo>
                      <a:pt x="131100" y="50621"/>
                      <a:pt x="129180" y="55361"/>
                      <a:pt x="127620" y="59141"/>
                    </a:cubicBezTo>
                    <a:cubicBezTo>
                      <a:pt x="115860" y="88301"/>
                      <a:pt x="112260" y="120521"/>
                      <a:pt x="106860" y="150341"/>
                    </a:cubicBezTo>
                    <a:cubicBezTo>
                      <a:pt x="106500" y="152501"/>
                      <a:pt x="106200" y="154421"/>
                      <a:pt x="105900" y="156281"/>
                    </a:cubicBezTo>
                    <a:lnTo>
                      <a:pt x="88980" y="175361"/>
                    </a:lnTo>
                    <a:lnTo>
                      <a:pt x="103140" y="87341"/>
                    </a:lnTo>
                    <a:lnTo>
                      <a:pt x="69180" y="87341"/>
                    </a:lnTo>
                    <a:lnTo>
                      <a:pt x="68400" y="91181"/>
                    </a:lnTo>
                    <a:cubicBezTo>
                      <a:pt x="68400" y="91181"/>
                      <a:pt x="74700" y="91001"/>
                      <a:pt x="79320" y="91541"/>
                    </a:cubicBezTo>
                    <a:cubicBezTo>
                      <a:pt x="82920" y="91961"/>
                      <a:pt x="84000" y="94721"/>
                      <a:pt x="84300" y="95861"/>
                    </a:cubicBezTo>
                    <a:cubicBezTo>
                      <a:pt x="84540" y="96701"/>
                      <a:pt x="84240" y="98441"/>
                      <a:pt x="84240" y="98441"/>
                    </a:cubicBezTo>
                    <a:lnTo>
                      <a:pt x="68100" y="198821"/>
                    </a:lnTo>
                    <a:lnTo>
                      <a:pt x="3360" y="272021"/>
                    </a:lnTo>
                    <a:lnTo>
                      <a:pt x="0" y="292241"/>
                    </a:lnTo>
                    <a:lnTo>
                      <a:pt x="64920" y="218921"/>
                    </a:lnTo>
                    <a:lnTo>
                      <a:pt x="49080" y="317201"/>
                    </a:lnTo>
                    <a:lnTo>
                      <a:pt x="197880" y="317261"/>
                    </a:lnTo>
                    <a:lnTo>
                      <a:pt x="204420" y="269441"/>
                    </a:lnTo>
                    <a:lnTo>
                      <a:pt x="104880" y="269441"/>
                    </a:lnTo>
                    <a:close/>
                  </a:path>
                </a:pathLst>
              </a:custGeom>
              <a:solidFill>
                <a:srgbClr val="06357A"/>
              </a:solidFill>
              <a:ln w="5989"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0C67B687-C3C4-2FE7-F350-D9FA9EEE522D}"/>
                  </a:ext>
                </a:extLst>
              </p:cNvPr>
              <p:cNvSpPr/>
              <p:nvPr/>
            </p:nvSpPr>
            <p:spPr>
              <a:xfrm>
                <a:off x="2018519" y="400019"/>
                <a:ext cx="101459" cy="160679"/>
              </a:xfrm>
              <a:custGeom>
                <a:avLst/>
                <a:gdLst>
                  <a:gd name="connsiteX0" fmla="*/ 0 w 101459"/>
                  <a:gd name="connsiteY0" fmla="*/ 160680 h 160679"/>
                  <a:gd name="connsiteX1" fmla="*/ 0 w 101459"/>
                  <a:gd name="connsiteY1" fmla="*/ 0 h 160679"/>
                  <a:gd name="connsiteX2" fmla="*/ 25500 w 101459"/>
                  <a:gd name="connsiteY2" fmla="*/ 0 h 160679"/>
                  <a:gd name="connsiteX3" fmla="*/ 25500 w 101459"/>
                  <a:gd name="connsiteY3" fmla="*/ 139500 h 160679"/>
                  <a:gd name="connsiteX4" fmla="*/ 101460 w 101459"/>
                  <a:gd name="connsiteY4" fmla="*/ 139500 h 160679"/>
                  <a:gd name="connsiteX5" fmla="*/ 101460 w 101459"/>
                  <a:gd name="connsiteY5"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59" h="160679">
                    <a:moveTo>
                      <a:pt x="0" y="160680"/>
                    </a:moveTo>
                    <a:lnTo>
                      <a:pt x="0" y="0"/>
                    </a:lnTo>
                    <a:lnTo>
                      <a:pt x="25500" y="0"/>
                    </a:lnTo>
                    <a:lnTo>
                      <a:pt x="25500" y="139500"/>
                    </a:lnTo>
                    <a:lnTo>
                      <a:pt x="101460" y="139500"/>
                    </a:lnTo>
                    <a:lnTo>
                      <a:pt x="101460" y="160680"/>
                    </a:lnTo>
                    <a:close/>
                  </a:path>
                </a:pathLst>
              </a:custGeom>
              <a:solidFill>
                <a:srgbClr val="06357A"/>
              </a:solidFill>
              <a:ln w="5989"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595ECAC-AB77-752E-F059-5043FD6EA5F5}"/>
                  </a:ext>
                </a:extLst>
              </p:cNvPr>
              <p:cNvSpPr/>
              <p:nvPr/>
            </p:nvSpPr>
            <p:spPr>
              <a:xfrm>
                <a:off x="213575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2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440" y="21480"/>
                      <a:pt x="150960" y="48060"/>
                      <a:pt x="150960" y="83340"/>
                    </a:cubicBezTo>
                  </a:path>
                </a:pathLst>
              </a:custGeom>
              <a:solidFill>
                <a:srgbClr val="06357A"/>
              </a:solidFill>
              <a:ln w="5989"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573FD05-D334-74F3-38ED-95BF84BAEF63}"/>
                  </a:ext>
                </a:extLst>
              </p:cNvPr>
              <p:cNvSpPr/>
              <p:nvPr/>
            </p:nvSpPr>
            <p:spPr>
              <a:xfrm>
                <a:off x="2363039" y="400019"/>
                <a:ext cx="101520" cy="160679"/>
              </a:xfrm>
              <a:custGeom>
                <a:avLst/>
                <a:gdLst>
                  <a:gd name="connsiteX0" fmla="*/ 0 w 101520"/>
                  <a:gd name="connsiteY0" fmla="*/ 160680 h 160679"/>
                  <a:gd name="connsiteX1" fmla="*/ 0 w 101520"/>
                  <a:gd name="connsiteY1" fmla="*/ 0 h 160679"/>
                  <a:gd name="connsiteX2" fmla="*/ 99480 w 101520"/>
                  <a:gd name="connsiteY2" fmla="*/ 0 h 160679"/>
                  <a:gd name="connsiteX3" fmla="*/ 99480 w 101520"/>
                  <a:gd name="connsiteY3" fmla="*/ 21180 h 160679"/>
                  <a:gd name="connsiteX4" fmla="*/ 25560 w 101520"/>
                  <a:gd name="connsiteY4" fmla="*/ 21180 h 160679"/>
                  <a:gd name="connsiteX5" fmla="*/ 25560 w 101520"/>
                  <a:gd name="connsiteY5" fmla="*/ 67560 h 160679"/>
                  <a:gd name="connsiteX6" fmla="*/ 86700 w 101520"/>
                  <a:gd name="connsiteY6" fmla="*/ 67560 h 160679"/>
                  <a:gd name="connsiteX7" fmla="*/ 86700 w 101520"/>
                  <a:gd name="connsiteY7" fmla="*/ 88740 h 160679"/>
                  <a:gd name="connsiteX8" fmla="*/ 25560 w 101520"/>
                  <a:gd name="connsiteY8" fmla="*/ 88740 h 160679"/>
                  <a:gd name="connsiteX9" fmla="*/ 25560 w 101520"/>
                  <a:gd name="connsiteY9" fmla="*/ 139500 h 160679"/>
                  <a:gd name="connsiteX10" fmla="*/ 101520 w 101520"/>
                  <a:gd name="connsiteY10" fmla="*/ 139500 h 160679"/>
                  <a:gd name="connsiteX11" fmla="*/ 101520 w 101520"/>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20" h="160679">
                    <a:moveTo>
                      <a:pt x="0" y="160680"/>
                    </a:moveTo>
                    <a:lnTo>
                      <a:pt x="0" y="0"/>
                    </a:lnTo>
                    <a:lnTo>
                      <a:pt x="99480" y="0"/>
                    </a:lnTo>
                    <a:lnTo>
                      <a:pt x="99480" y="21180"/>
                    </a:lnTo>
                    <a:lnTo>
                      <a:pt x="25560" y="21180"/>
                    </a:lnTo>
                    <a:lnTo>
                      <a:pt x="25560" y="67560"/>
                    </a:lnTo>
                    <a:lnTo>
                      <a:pt x="86700" y="67560"/>
                    </a:lnTo>
                    <a:lnTo>
                      <a:pt x="8670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69898778-BF5F-7934-E79E-45A6221CB45A}"/>
                  </a:ext>
                </a:extLst>
              </p:cNvPr>
              <p:cNvSpPr/>
              <p:nvPr/>
            </p:nvSpPr>
            <p:spPr>
              <a:xfrm>
                <a:off x="2513939" y="400019"/>
                <a:ext cx="99539" cy="160679"/>
              </a:xfrm>
              <a:custGeom>
                <a:avLst/>
                <a:gdLst>
                  <a:gd name="connsiteX0" fmla="*/ 25560 w 99539"/>
                  <a:gd name="connsiteY0" fmla="*/ 21180 h 160679"/>
                  <a:gd name="connsiteX1" fmla="*/ 25560 w 99539"/>
                  <a:gd name="connsiteY1" fmla="*/ 69900 h 160679"/>
                  <a:gd name="connsiteX2" fmla="*/ 86760 w 99539"/>
                  <a:gd name="connsiteY2" fmla="*/ 69900 h 160679"/>
                  <a:gd name="connsiteX3" fmla="*/ 86760 w 99539"/>
                  <a:gd name="connsiteY3" fmla="*/ 91080 h 160679"/>
                  <a:gd name="connsiteX4" fmla="*/ 25560 w 99539"/>
                  <a:gd name="connsiteY4" fmla="*/ 91080 h 160679"/>
                  <a:gd name="connsiteX5" fmla="*/ 25560 w 99539"/>
                  <a:gd name="connsiteY5" fmla="*/ 160680 h 160679"/>
                  <a:gd name="connsiteX6" fmla="*/ 0 w 99539"/>
                  <a:gd name="connsiteY6" fmla="*/ 160680 h 160679"/>
                  <a:gd name="connsiteX7" fmla="*/ 0 w 99539"/>
                  <a:gd name="connsiteY7" fmla="*/ 0 h 160679"/>
                  <a:gd name="connsiteX8" fmla="*/ 99540 w 99539"/>
                  <a:gd name="connsiteY8" fmla="*/ 0 h 160679"/>
                  <a:gd name="connsiteX9" fmla="*/ 99540 w 99539"/>
                  <a:gd name="connsiteY9" fmla="*/ 211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9" h="160679">
                    <a:moveTo>
                      <a:pt x="25560" y="21180"/>
                    </a:moveTo>
                    <a:lnTo>
                      <a:pt x="25560" y="69900"/>
                    </a:lnTo>
                    <a:lnTo>
                      <a:pt x="86760" y="69900"/>
                    </a:lnTo>
                    <a:lnTo>
                      <a:pt x="86760" y="91080"/>
                    </a:lnTo>
                    <a:lnTo>
                      <a:pt x="25560" y="91080"/>
                    </a:lnTo>
                    <a:lnTo>
                      <a:pt x="25560" y="160680"/>
                    </a:lnTo>
                    <a:lnTo>
                      <a:pt x="0" y="160680"/>
                    </a:lnTo>
                    <a:lnTo>
                      <a:pt x="0" y="0"/>
                    </a:lnTo>
                    <a:lnTo>
                      <a:pt x="99540" y="0"/>
                    </a:lnTo>
                    <a:lnTo>
                      <a:pt x="99540" y="21180"/>
                    </a:lnTo>
                    <a:close/>
                  </a:path>
                </a:pathLst>
              </a:custGeom>
              <a:solidFill>
                <a:srgbClr val="06357A"/>
              </a:solidFill>
              <a:ln w="5989"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56E00579-020E-A2C6-625B-A3E70C239C13}"/>
                  </a:ext>
                </a:extLst>
              </p:cNvPr>
              <p:cNvSpPr/>
              <p:nvPr/>
            </p:nvSpPr>
            <p:spPr>
              <a:xfrm>
                <a:off x="2659859" y="400019"/>
                <a:ext cx="99480" cy="160679"/>
              </a:xfrm>
              <a:custGeom>
                <a:avLst/>
                <a:gdLst>
                  <a:gd name="connsiteX0" fmla="*/ 0 w 99480"/>
                  <a:gd name="connsiteY0" fmla="*/ 0 h 160679"/>
                  <a:gd name="connsiteX1" fmla="*/ 0 w 99480"/>
                  <a:gd name="connsiteY1" fmla="*/ 160680 h 160679"/>
                  <a:gd name="connsiteX2" fmla="*/ 25560 w 99480"/>
                  <a:gd name="connsiteY2" fmla="*/ 160680 h 160679"/>
                  <a:gd name="connsiteX3" fmla="*/ 25560 w 99480"/>
                  <a:gd name="connsiteY3" fmla="*/ 91080 h 160679"/>
                  <a:gd name="connsiteX4" fmla="*/ 86700 w 99480"/>
                  <a:gd name="connsiteY4" fmla="*/ 91080 h 160679"/>
                  <a:gd name="connsiteX5" fmla="*/ 86700 w 99480"/>
                  <a:gd name="connsiteY5" fmla="*/ 69900 h 160679"/>
                  <a:gd name="connsiteX6" fmla="*/ 25560 w 99480"/>
                  <a:gd name="connsiteY6" fmla="*/ 69900 h 160679"/>
                  <a:gd name="connsiteX7" fmla="*/ 25560 w 99480"/>
                  <a:gd name="connsiteY7" fmla="*/ 21180 h 160679"/>
                  <a:gd name="connsiteX8" fmla="*/ 99480 w 99480"/>
                  <a:gd name="connsiteY8" fmla="*/ 21180 h 160679"/>
                  <a:gd name="connsiteX9" fmla="*/ 99480 w 99480"/>
                  <a:gd name="connsiteY9"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0" h="160679">
                    <a:moveTo>
                      <a:pt x="0" y="0"/>
                    </a:moveTo>
                    <a:lnTo>
                      <a:pt x="0" y="160680"/>
                    </a:lnTo>
                    <a:lnTo>
                      <a:pt x="25560" y="160680"/>
                    </a:lnTo>
                    <a:lnTo>
                      <a:pt x="25560" y="91080"/>
                    </a:lnTo>
                    <a:lnTo>
                      <a:pt x="86700" y="91080"/>
                    </a:lnTo>
                    <a:lnTo>
                      <a:pt x="86700" y="69900"/>
                    </a:lnTo>
                    <a:lnTo>
                      <a:pt x="25560" y="69900"/>
                    </a:lnTo>
                    <a:lnTo>
                      <a:pt x="25560" y="21180"/>
                    </a:lnTo>
                    <a:lnTo>
                      <a:pt x="99480" y="21180"/>
                    </a:lnTo>
                    <a:lnTo>
                      <a:pt x="99480" y="0"/>
                    </a:lnTo>
                    <a:close/>
                  </a:path>
                </a:pathLst>
              </a:custGeom>
              <a:solidFill>
                <a:srgbClr val="06357A"/>
              </a:solidFill>
              <a:ln w="5989"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10212525-01E8-B272-F017-CBCFF915FFCB}"/>
                  </a:ext>
                </a:extLst>
              </p:cNvPr>
              <p:cNvSpPr/>
              <p:nvPr/>
            </p:nvSpPr>
            <p:spPr>
              <a:xfrm>
                <a:off x="756000" y="400019"/>
                <a:ext cx="101519" cy="160679"/>
              </a:xfrm>
              <a:custGeom>
                <a:avLst/>
                <a:gdLst>
                  <a:gd name="connsiteX0" fmla="*/ 0 w 101519"/>
                  <a:gd name="connsiteY0" fmla="*/ 0 h 160679"/>
                  <a:gd name="connsiteX1" fmla="*/ 0 w 101519"/>
                  <a:gd name="connsiteY1" fmla="*/ 160680 h 160679"/>
                  <a:gd name="connsiteX2" fmla="*/ 101520 w 101519"/>
                  <a:gd name="connsiteY2" fmla="*/ 160680 h 160679"/>
                  <a:gd name="connsiteX3" fmla="*/ 101520 w 101519"/>
                  <a:gd name="connsiteY3" fmla="*/ 139500 h 160679"/>
                  <a:gd name="connsiteX4" fmla="*/ 25560 w 101519"/>
                  <a:gd name="connsiteY4" fmla="*/ 139500 h 160679"/>
                  <a:gd name="connsiteX5" fmla="*/ 25560 w 101519"/>
                  <a:gd name="connsiteY5"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19" h="160679">
                    <a:moveTo>
                      <a:pt x="0" y="0"/>
                    </a:moveTo>
                    <a:lnTo>
                      <a:pt x="0" y="160680"/>
                    </a:lnTo>
                    <a:lnTo>
                      <a:pt x="101520" y="160680"/>
                    </a:lnTo>
                    <a:lnTo>
                      <a:pt x="101520" y="139500"/>
                    </a:lnTo>
                    <a:lnTo>
                      <a:pt x="25560" y="139500"/>
                    </a:lnTo>
                    <a:lnTo>
                      <a:pt x="25560" y="0"/>
                    </a:lnTo>
                    <a:close/>
                  </a:path>
                </a:pathLst>
              </a:custGeom>
              <a:solidFill>
                <a:srgbClr val="06357A"/>
              </a:solidFill>
              <a:ln w="5989"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0E984B35-62DB-7F91-A648-CE89CC32AF74}"/>
                  </a:ext>
                </a:extLst>
              </p:cNvPr>
              <p:cNvSpPr/>
              <p:nvPr/>
            </p:nvSpPr>
            <p:spPr>
              <a:xfrm>
                <a:off x="87329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8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380" y="21480"/>
                      <a:pt x="150960" y="48060"/>
                      <a:pt x="150960" y="83340"/>
                    </a:cubicBezTo>
                  </a:path>
                </a:pathLst>
              </a:custGeom>
              <a:solidFill>
                <a:srgbClr val="06357A"/>
              </a:solidFill>
              <a:ln w="5989"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8968E1AB-1AE4-839B-F32C-C350F12A00AA}"/>
                  </a:ext>
                </a:extLst>
              </p:cNvPr>
              <p:cNvSpPr/>
              <p:nvPr/>
            </p:nvSpPr>
            <p:spPr>
              <a:xfrm>
                <a:off x="1069619" y="400019"/>
                <a:ext cx="143879" cy="160679"/>
              </a:xfrm>
              <a:custGeom>
                <a:avLst/>
                <a:gdLst>
                  <a:gd name="connsiteX0" fmla="*/ 82380 w 143879"/>
                  <a:gd name="connsiteY0" fmla="*/ 88740 h 160679"/>
                  <a:gd name="connsiteX1" fmla="*/ 82380 w 143879"/>
                  <a:gd name="connsiteY1" fmla="*/ 160680 h 160679"/>
                  <a:gd name="connsiteX2" fmla="*/ 57120 w 143879"/>
                  <a:gd name="connsiteY2" fmla="*/ 160680 h 160679"/>
                  <a:gd name="connsiteX3" fmla="*/ 57120 w 143879"/>
                  <a:gd name="connsiteY3" fmla="*/ 88740 h 160679"/>
                  <a:gd name="connsiteX4" fmla="*/ 0 w 143879"/>
                  <a:gd name="connsiteY4" fmla="*/ 0 h 160679"/>
                  <a:gd name="connsiteX5" fmla="*/ 29580 w 143879"/>
                  <a:gd name="connsiteY5" fmla="*/ 0 h 160679"/>
                  <a:gd name="connsiteX6" fmla="*/ 71940 w 143879"/>
                  <a:gd name="connsiteY6" fmla="*/ 65520 h 160679"/>
                  <a:gd name="connsiteX7" fmla="*/ 114300 w 143879"/>
                  <a:gd name="connsiteY7" fmla="*/ 0 h 160679"/>
                  <a:gd name="connsiteX8" fmla="*/ 143880 w 143879"/>
                  <a:gd name="connsiteY8"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79" h="160679">
                    <a:moveTo>
                      <a:pt x="82380" y="88740"/>
                    </a:moveTo>
                    <a:lnTo>
                      <a:pt x="82380" y="160680"/>
                    </a:lnTo>
                    <a:lnTo>
                      <a:pt x="57120" y="160680"/>
                    </a:lnTo>
                    <a:lnTo>
                      <a:pt x="57120" y="88740"/>
                    </a:lnTo>
                    <a:lnTo>
                      <a:pt x="0" y="0"/>
                    </a:lnTo>
                    <a:lnTo>
                      <a:pt x="29580" y="0"/>
                    </a:lnTo>
                    <a:lnTo>
                      <a:pt x="71940" y="65520"/>
                    </a:lnTo>
                    <a:lnTo>
                      <a:pt x="114300" y="0"/>
                    </a:lnTo>
                    <a:lnTo>
                      <a:pt x="143880" y="0"/>
                    </a:lnTo>
                    <a:close/>
                  </a:path>
                </a:pathLst>
              </a:custGeom>
              <a:solidFill>
                <a:srgbClr val="06357A"/>
              </a:solidFill>
              <a:ln w="5989"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6282266C-04ED-D328-DFBA-D675945D01AE}"/>
                  </a:ext>
                </a:extLst>
              </p:cNvPr>
              <p:cNvSpPr/>
              <p:nvPr/>
            </p:nvSpPr>
            <p:spPr>
              <a:xfrm>
                <a:off x="1251479" y="400019"/>
                <a:ext cx="101519" cy="160679"/>
              </a:xfrm>
              <a:custGeom>
                <a:avLst/>
                <a:gdLst>
                  <a:gd name="connsiteX0" fmla="*/ 0 w 101519"/>
                  <a:gd name="connsiteY0" fmla="*/ 160680 h 160679"/>
                  <a:gd name="connsiteX1" fmla="*/ 0 w 101519"/>
                  <a:gd name="connsiteY1" fmla="*/ 0 h 160679"/>
                  <a:gd name="connsiteX2" fmla="*/ 99480 w 101519"/>
                  <a:gd name="connsiteY2" fmla="*/ 0 h 160679"/>
                  <a:gd name="connsiteX3" fmla="*/ 99480 w 101519"/>
                  <a:gd name="connsiteY3" fmla="*/ 21180 h 160679"/>
                  <a:gd name="connsiteX4" fmla="*/ 25560 w 101519"/>
                  <a:gd name="connsiteY4" fmla="*/ 21180 h 160679"/>
                  <a:gd name="connsiteX5" fmla="*/ 25560 w 101519"/>
                  <a:gd name="connsiteY5" fmla="*/ 67560 h 160679"/>
                  <a:gd name="connsiteX6" fmla="*/ 86760 w 101519"/>
                  <a:gd name="connsiteY6" fmla="*/ 67560 h 160679"/>
                  <a:gd name="connsiteX7" fmla="*/ 86760 w 101519"/>
                  <a:gd name="connsiteY7" fmla="*/ 88740 h 160679"/>
                  <a:gd name="connsiteX8" fmla="*/ 25560 w 101519"/>
                  <a:gd name="connsiteY8" fmla="*/ 88740 h 160679"/>
                  <a:gd name="connsiteX9" fmla="*/ 25560 w 101519"/>
                  <a:gd name="connsiteY9" fmla="*/ 139500 h 160679"/>
                  <a:gd name="connsiteX10" fmla="*/ 101520 w 101519"/>
                  <a:gd name="connsiteY10" fmla="*/ 139500 h 160679"/>
                  <a:gd name="connsiteX11" fmla="*/ 101520 w 101519"/>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19" h="160679">
                    <a:moveTo>
                      <a:pt x="0" y="160680"/>
                    </a:moveTo>
                    <a:lnTo>
                      <a:pt x="0" y="0"/>
                    </a:lnTo>
                    <a:lnTo>
                      <a:pt x="99480" y="0"/>
                    </a:lnTo>
                    <a:lnTo>
                      <a:pt x="99480" y="21180"/>
                    </a:lnTo>
                    <a:lnTo>
                      <a:pt x="25560" y="21180"/>
                    </a:lnTo>
                    <a:lnTo>
                      <a:pt x="25560" y="67560"/>
                    </a:lnTo>
                    <a:lnTo>
                      <a:pt x="86760" y="67560"/>
                    </a:lnTo>
                    <a:lnTo>
                      <a:pt x="8676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A26858FE-D6D4-3A6C-CF41-2542884F89E3}"/>
                  </a:ext>
                </a:extLst>
              </p:cNvPr>
              <p:cNvSpPr/>
              <p:nvPr/>
            </p:nvSpPr>
            <p:spPr>
              <a:xfrm>
                <a:off x="1402439" y="400019"/>
                <a:ext cx="145919" cy="162719"/>
              </a:xfrm>
              <a:custGeom>
                <a:avLst/>
                <a:gdLst>
                  <a:gd name="connsiteX0" fmla="*/ 122700 w 145919"/>
                  <a:gd name="connsiteY0" fmla="*/ 162720 h 162719"/>
                  <a:gd name="connsiteX1" fmla="*/ 31920 w 145919"/>
                  <a:gd name="connsiteY1" fmla="*/ 46740 h 162719"/>
                  <a:gd name="connsiteX2" fmla="*/ 23520 w 145919"/>
                  <a:gd name="connsiteY2" fmla="*/ 31920 h 162719"/>
                  <a:gd name="connsiteX3" fmla="*/ 23520 w 145919"/>
                  <a:gd name="connsiteY3" fmla="*/ 160680 h 162719"/>
                  <a:gd name="connsiteX4" fmla="*/ 0 w 145919"/>
                  <a:gd name="connsiteY4" fmla="*/ 160680 h 162719"/>
                  <a:gd name="connsiteX5" fmla="*/ 0 w 145919"/>
                  <a:gd name="connsiteY5" fmla="*/ 0 h 162719"/>
                  <a:gd name="connsiteX6" fmla="*/ 25560 w 145919"/>
                  <a:gd name="connsiteY6" fmla="*/ 0 h 162719"/>
                  <a:gd name="connsiteX7" fmla="*/ 116340 w 145919"/>
                  <a:gd name="connsiteY7" fmla="*/ 114300 h 162719"/>
                  <a:gd name="connsiteX8" fmla="*/ 122700 w 145919"/>
                  <a:gd name="connsiteY8" fmla="*/ 129060 h 162719"/>
                  <a:gd name="connsiteX9" fmla="*/ 122700 w 145919"/>
                  <a:gd name="connsiteY9" fmla="*/ 0 h 162719"/>
                  <a:gd name="connsiteX10" fmla="*/ 145920 w 145919"/>
                  <a:gd name="connsiteY10" fmla="*/ 0 h 162719"/>
                  <a:gd name="connsiteX11" fmla="*/ 145920 w 145919"/>
                  <a:gd name="connsiteY11" fmla="*/ 162660 h 162719"/>
                  <a:gd name="connsiteX12" fmla="*/ 122700 w 145919"/>
                  <a:gd name="connsiteY12" fmla="*/ 16266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9" h="162719">
                    <a:moveTo>
                      <a:pt x="122700" y="162720"/>
                    </a:moveTo>
                    <a:lnTo>
                      <a:pt x="31920" y="46740"/>
                    </a:lnTo>
                    <a:cubicBezTo>
                      <a:pt x="26520" y="39660"/>
                      <a:pt x="24540" y="36300"/>
                      <a:pt x="23520" y="31920"/>
                    </a:cubicBezTo>
                    <a:lnTo>
                      <a:pt x="23520" y="160680"/>
                    </a:lnTo>
                    <a:lnTo>
                      <a:pt x="0" y="160680"/>
                    </a:lnTo>
                    <a:lnTo>
                      <a:pt x="0" y="0"/>
                    </a:lnTo>
                    <a:lnTo>
                      <a:pt x="25560" y="0"/>
                    </a:lnTo>
                    <a:lnTo>
                      <a:pt x="116340" y="114300"/>
                    </a:lnTo>
                    <a:cubicBezTo>
                      <a:pt x="119040" y="117960"/>
                      <a:pt x="122040" y="124020"/>
                      <a:pt x="122700" y="129060"/>
                    </a:cubicBezTo>
                    <a:lnTo>
                      <a:pt x="122700" y="0"/>
                    </a:lnTo>
                    <a:lnTo>
                      <a:pt x="145920" y="0"/>
                    </a:lnTo>
                    <a:lnTo>
                      <a:pt x="145920" y="162660"/>
                    </a:lnTo>
                    <a:lnTo>
                      <a:pt x="122700" y="162660"/>
                    </a:lnTo>
                    <a:close/>
                  </a:path>
                </a:pathLst>
              </a:custGeom>
              <a:solidFill>
                <a:srgbClr val="06357A"/>
              </a:solidFill>
              <a:ln w="5989"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2A69782-2B9B-9546-01A5-9748306AE71D}"/>
                  </a:ext>
                </a:extLst>
              </p:cNvPr>
              <p:cNvSpPr/>
              <p:nvPr/>
            </p:nvSpPr>
            <p:spPr>
              <a:xfrm>
                <a:off x="1597379" y="397320"/>
                <a:ext cx="115679" cy="166319"/>
              </a:xfrm>
              <a:custGeom>
                <a:avLst/>
                <a:gdLst>
                  <a:gd name="connsiteX0" fmla="*/ 106560 w 115679"/>
                  <a:gd name="connsiteY0" fmla="*/ 34620 h 166319"/>
                  <a:gd name="connsiteX1" fmla="*/ 86400 w 115679"/>
                  <a:gd name="connsiteY1" fmla="*/ 24840 h 166319"/>
                  <a:gd name="connsiteX2" fmla="*/ 63900 w 115679"/>
                  <a:gd name="connsiteY2" fmla="*/ 21480 h 166319"/>
                  <a:gd name="connsiteX3" fmla="*/ 30960 w 115679"/>
                  <a:gd name="connsiteY3" fmla="*/ 41280 h 166319"/>
                  <a:gd name="connsiteX4" fmla="*/ 32940 w 115679"/>
                  <a:gd name="connsiteY4" fmla="*/ 49680 h 166319"/>
                  <a:gd name="connsiteX5" fmla="*/ 74280 w 115679"/>
                  <a:gd name="connsiteY5" fmla="*/ 74880 h 166319"/>
                  <a:gd name="connsiteX6" fmla="*/ 114300 w 115679"/>
                  <a:gd name="connsiteY6" fmla="*/ 120600 h 166319"/>
                  <a:gd name="connsiteX7" fmla="*/ 55800 w 115679"/>
                  <a:gd name="connsiteY7" fmla="*/ 166320 h 166319"/>
                  <a:gd name="connsiteX8" fmla="*/ 22860 w 115679"/>
                  <a:gd name="connsiteY8" fmla="*/ 161280 h 166319"/>
                  <a:gd name="connsiteX9" fmla="*/ 0 w 115679"/>
                  <a:gd name="connsiteY9" fmla="*/ 149160 h 166319"/>
                  <a:gd name="connsiteX10" fmla="*/ 11400 w 115679"/>
                  <a:gd name="connsiteY10" fmla="*/ 127320 h 166319"/>
                  <a:gd name="connsiteX11" fmla="*/ 32220 w 115679"/>
                  <a:gd name="connsiteY11" fmla="*/ 140100 h 166319"/>
                  <a:gd name="connsiteX12" fmla="*/ 58800 w 115679"/>
                  <a:gd name="connsiteY12" fmla="*/ 145500 h 166319"/>
                  <a:gd name="connsiteX13" fmla="*/ 88740 w 115679"/>
                  <a:gd name="connsiteY13" fmla="*/ 124020 h 166319"/>
                  <a:gd name="connsiteX14" fmla="*/ 70560 w 115679"/>
                  <a:gd name="connsiteY14" fmla="*/ 100140 h 166319"/>
                  <a:gd name="connsiteX15" fmla="*/ 41340 w 115679"/>
                  <a:gd name="connsiteY15" fmla="*/ 86040 h 166319"/>
                  <a:gd name="connsiteX16" fmla="*/ 5700 w 115679"/>
                  <a:gd name="connsiteY16" fmla="*/ 43680 h 166319"/>
                  <a:gd name="connsiteX17" fmla="*/ 64200 w 115679"/>
                  <a:gd name="connsiteY17" fmla="*/ 0 h 166319"/>
                  <a:gd name="connsiteX18" fmla="*/ 94140 w 115679"/>
                  <a:gd name="connsiteY18" fmla="*/ 4020 h 166319"/>
                  <a:gd name="connsiteX19" fmla="*/ 115680 w 115679"/>
                  <a:gd name="connsiteY19" fmla="*/ 13440 h 166319"/>
                  <a:gd name="connsiteX20" fmla="*/ 106560 w 115679"/>
                  <a:gd name="connsiteY20" fmla="*/ 34620 h 1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679" h="166319">
                    <a:moveTo>
                      <a:pt x="106560" y="34620"/>
                    </a:moveTo>
                    <a:cubicBezTo>
                      <a:pt x="98160" y="28920"/>
                      <a:pt x="94440" y="27240"/>
                      <a:pt x="86400" y="24840"/>
                    </a:cubicBezTo>
                    <a:cubicBezTo>
                      <a:pt x="78000" y="22140"/>
                      <a:pt x="70920" y="21480"/>
                      <a:pt x="63900" y="21480"/>
                    </a:cubicBezTo>
                    <a:cubicBezTo>
                      <a:pt x="43380" y="21480"/>
                      <a:pt x="30960" y="28860"/>
                      <a:pt x="30960" y="41280"/>
                    </a:cubicBezTo>
                    <a:cubicBezTo>
                      <a:pt x="30960" y="44640"/>
                      <a:pt x="31620" y="47700"/>
                      <a:pt x="32940" y="49680"/>
                    </a:cubicBezTo>
                    <a:cubicBezTo>
                      <a:pt x="37680" y="56760"/>
                      <a:pt x="43020" y="59760"/>
                      <a:pt x="74280" y="74880"/>
                    </a:cubicBezTo>
                    <a:cubicBezTo>
                      <a:pt x="104520" y="89640"/>
                      <a:pt x="114300" y="100740"/>
                      <a:pt x="114300" y="120600"/>
                    </a:cubicBezTo>
                    <a:cubicBezTo>
                      <a:pt x="114300" y="149160"/>
                      <a:pt x="92100" y="166320"/>
                      <a:pt x="55800" y="166320"/>
                    </a:cubicBezTo>
                    <a:cubicBezTo>
                      <a:pt x="43680" y="166320"/>
                      <a:pt x="32280" y="164640"/>
                      <a:pt x="22860" y="161280"/>
                    </a:cubicBezTo>
                    <a:cubicBezTo>
                      <a:pt x="16140" y="158580"/>
                      <a:pt x="11400" y="156240"/>
                      <a:pt x="0" y="149160"/>
                    </a:cubicBezTo>
                    <a:lnTo>
                      <a:pt x="11400" y="127320"/>
                    </a:lnTo>
                    <a:cubicBezTo>
                      <a:pt x="21480" y="134700"/>
                      <a:pt x="25860" y="137400"/>
                      <a:pt x="32220" y="140100"/>
                    </a:cubicBezTo>
                    <a:cubicBezTo>
                      <a:pt x="40320" y="143460"/>
                      <a:pt x="49680" y="145500"/>
                      <a:pt x="58800" y="145500"/>
                    </a:cubicBezTo>
                    <a:cubicBezTo>
                      <a:pt x="77640" y="145500"/>
                      <a:pt x="88740" y="137460"/>
                      <a:pt x="88740" y="124020"/>
                    </a:cubicBezTo>
                    <a:cubicBezTo>
                      <a:pt x="88740" y="113280"/>
                      <a:pt x="83340" y="106200"/>
                      <a:pt x="70560" y="100140"/>
                    </a:cubicBezTo>
                    <a:lnTo>
                      <a:pt x="41340" y="86040"/>
                    </a:lnTo>
                    <a:cubicBezTo>
                      <a:pt x="16800" y="74280"/>
                      <a:pt x="5700" y="60840"/>
                      <a:pt x="5700" y="43680"/>
                    </a:cubicBezTo>
                    <a:cubicBezTo>
                      <a:pt x="5700" y="17100"/>
                      <a:pt x="28560" y="0"/>
                      <a:pt x="64200" y="0"/>
                    </a:cubicBezTo>
                    <a:cubicBezTo>
                      <a:pt x="74640" y="0"/>
                      <a:pt x="85020" y="1320"/>
                      <a:pt x="94140" y="4020"/>
                    </a:cubicBezTo>
                    <a:cubicBezTo>
                      <a:pt x="101520" y="6060"/>
                      <a:pt x="105540" y="8040"/>
                      <a:pt x="115680" y="13440"/>
                    </a:cubicBezTo>
                    <a:lnTo>
                      <a:pt x="106560" y="34620"/>
                    </a:lnTo>
                    <a:close/>
                  </a:path>
                </a:pathLst>
              </a:custGeom>
              <a:solidFill>
                <a:srgbClr val="06357A"/>
              </a:solidFill>
              <a:ln w="5989" cap="flat">
                <a:noFill/>
                <a:prstDash val="solid"/>
                <a:miter/>
              </a:ln>
            </p:spPr>
            <p:txBody>
              <a:bodyPr rtlCol="0" anchor="ctr"/>
              <a:lstStyle/>
              <a:p>
                <a:endParaRPr lang="en-GB"/>
              </a:p>
            </p:txBody>
          </p:sp>
        </p:grpSp>
        <p:grpSp>
          <p:nvGrpSpPr>
            <p:cNvPr id="12" name="Graphic 3">
              <a:extLst>
                <a:ext uri="{FF2B5EF4-FFF2-40B4-BE49-F238E27FC236}">
                  <a16:creationId xmlns:a16="http://schemas.microsoft.com/office/drawing/2014/main" id="{223086F3-A46B-6784-D8E7-58FE424405A4}"/>
                </a:ext>
              </a:extLst>
            </p:cNvPr>
            <p:cNvGrpSpPr/>
            <p:nvPr/>
          </p:nvGrpSpPr>
          <p:grpSpPr>
            <a:xfrm>
              <a:off x="1619999" y="701219"/>
              <a:ext cx="481139" cy="80940"/>
              <a:chOff x="1619999" y="701219"/>
              <a:chExt cx="481139" cy="80940"/>
            </a:xfrm>
            <a:solidFill>
              <a:srgbClr val="06357A"/>
            </a:solidFill>
          </p:grpSpPr>
          <p:sp>
            <p:nvSpPr>
              <p:cNvPr id="13" name="Freeform: Shape 12">
                <a:extLst>
                  <a:ext uri="{FF2B5EF4-FFF2-40B4-BE49-F238E27FC236}">
                    <a16:creationId xmlns:a16="http://schemas.microsoft.com/office/drawing/2014/main" id="{E2EB9138-041D-3BF4-A290-3232F67E87D8}"/>
                  </a:ext>
                </a:extLst>
              </p:cNvPr>
              <p:cNvSpPr/>
              <p:nvPr/>
            </p:nvSpPr>
            <p:spPr>
              <a:xfrm>
                <a:off x="1619999" y="701219"/>
                <a:ext cx="51959" cy="79200"/>
              </a:xfrm>
              <a:custGeom>
                <a:avLst/>
                <a:gdLst>
                  <a:gd name="connsiteX0" fmla="*/ 0 w 51959"/>
                  <a:gd name="connsiteY0" fmla="*/ 0 h 79200"/>
                  <a:gd name="connsiteX1" fmla="*/ 7560 w 51959"/>
                  <a:gd name="connsiteY1" fmla="*/ 0 h 79200"/>
                  <a:gd name="connsiteX2" fmla="*/ 7560 w 51959"/>
                  <a:gd name="connsiteY2" fmla="*/ 72780 h 79200"/>
                  <a:gd name="connsiteX3" fmla="*/ 51960 w 51959"/>
                  <a:gd name="connsiteY3" fmla="*/ 72780 h 79200"/>
                  <a:gd name="connsiteX4" fmla="*/ 51960 w 51959"/>
                  <a:gd name="connsiteY4" fmla="*/ 79200 h 79200"/>
                  <a:gd name="connsiteX5" fmla="*/ 0 w 51959"/>
                  <a:gd name="connsiteY5" fmla="*/ 79200 h 79200"/>
                  <a:gd name="connsiteX6" fmla="*/ 0 w 51959"/>
                  <a:gd name="connsiteY6"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59" h="79200">
                    <a:moveTo>
                      <a:pt x="0" y="0"/>
                    </a:moveTo>
                    <a:lnTo>
                      <a:pt x="7560" y="0"/>
                    </a:lnTo>
                    <a:lnTo>
                      <a:pt x="7560" y="72780"/>
                    </a:lnTo>
                    <a:lnTo>
                      <a:pt x="51960" y="72780"/>
                    </a:lnTo>
                    <a:lnTo>
                      <a:pt x="51960" y="79200"/>
                    </a:lnTo>
                    <a:lnTo>
                      <a:pt x="0" y="79200"/>
                    </a:lnTo>
                    <a:lnTo>
                      <a:pt x="0" y="0"/>
                    </a:lnTo>
                    <a:close/>
                  </a:path>
                </a:pathLst>
              </a:custGeom>
              <a:solidFill>
                <a:srgbClr val="06357A"/>
              </a:solidFill>
              <a:ln w="598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5A6F993A-E390-831D-85D6-D74EEF09A381}"/>
                  </a:ext>
                </a:extLst>
              </p:cNvPr>
              <p:cNvSpPr/>
              <p:nvPr/>
            </p:nvSpPr>
            <p:spPr>
              <a:xfrm>
                <a:off x="167501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A8B5DFC-5998-ED78-C089-D8D9FDAA7E38}"/>
                  </a:ext>
                </a:extLst>
              </p:cNvPr>
              <p:cNvSpPr/>
              <p:nvPr/>
            </p:nvSpPr>
            <p:spPr>
              <a:xfrm>
                <a:off x="1730039" y="723180"/>
                <a:ext cx="80459" cy="57240"/>
              </a:xfrm>
              <a:custGeom>
                <a:avLst/>
                <a:gdLst>
                  <a:gd name="connsiteX0" fmla="*/ 0 w 80459"/>
                  <a:gd name="connsiteY0" fmla="*/ 0 h 57240"/>
                  <a:gd name="connsiteX1" fmla="*/ 7440 w 80459"/>
                  <a:gd name="connsiteY1" fmla="*/ 0 h 57240"/>
                  <a:gd name="connsiteX2" fmla="*/ 22080 w 80459"/>
                  <a:gd name="connsiteY2" fmla="*/ 49020 h 57240"/>
                  <a:gd name="connsiteX3" fmla="*/ 22320 w 80459"/>
                  <a:gd name="connsiteY3" fmla="*/ 49020 h 57240"/>
                  <a:gd name="connsiteX4" fmla="*/ 36300 w 80459"/>
                  <a:gd name="connsiteY4" fmla="*/ 0 h 57240"/>
                  <a:gd name="connsiteX5" fmla="*/ 44160 w 80459"/>
                  <a:gd name="connsiteY5" fmla="*/ 0 h 57240"/>
                  <a:gd name="connsiteX6" fmla="*/ 58140 w 80459"/>
                  <a:gd name="connsiteY6" fmla="*/ 49020 h 57240"/>
                  <a:gd name="connsiteX7" fmla="*/ 58380 w 80459"/>
                  <a:gd name="connsiteY7" fmla="*/ 49020 h 57240"/>
                  <a:gd name="connsiteX8" fmla="*/ 73020 w 80459"/>
                  <a:gd name="connsiteY8" fmla="*/ 0 h 57240"/>
                  <a:gd name="connsiteX9" fmla="*/ 80460 w 80459"/>
                  <a:gd name="connsiteY9" fmla="*/ 0 h 57240"/>
                  <a:gd name="connsiteX10" fmla="*/ 62040 w 80459"/>
                  <a:gd name="connsiteY10" fmla="*/ 57240 h 57240"/>
                  <a:gd name="connsiteX11" fmla="*/ 54360 w 80459"/>
                  <a:gd name="connsiteY11" fmla="*/ 57240 h 57240"/>
                  <a:gd name="connsiteX12" fmla="*/ 40260 w 80459"/>
                  <a:gd name="connsiteY12" fmla="*/ 9060 h 57240"/>
                  <a:gd name="connsiteX13" fmla="*/ 40020 w 80459"/>
                  <a:gd name="connsiteY13" fmla="*/ 9060 h 57240"/>
                  <a:gd name="connsiteX14" fmla="*/ 26040 w 80459"/>
                  <a:gd name="connsiteY14" fmla="*/ 57240 h 57240"/>
                  <a:gd name="connsiteX15" fmla="*/ 18360 w 80459"/>
                  <a:gd name="connsiteY15" fmla="*/ 57240 h 57240"/>
                  <a:gd name="connsiteX16" fmla="*/ 0 w 80459"/>
                  <a:gd name="connsiteY16" fmla="*/ 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459" h="57240">
                    <a:moveTo>
                      <a:pt x="0" y="0"/>
                    </a:moveTo>
                    <a:lnTo>
                      <a:pt x="7440" y="0"/>
                    </a:lnTo>
                    <a:lnTo>
                      <a:pt x="22080" y="49020"/>
                    </a:lnTo>
                    <a:lnTo>
                      <a:pt x="22320" y="49020"/>
                    </a:lnTo>
                    <a:lnTo>
                      <a:pt x="36300" y="0"/>
                    </a:lnTo>
                    <a:lnTo>
                      <a:pt x="44160" y="0"/>
                    </a:lnTo>
                    <a:lnTo>
                      <a:pt x="58140" y="49020"/>
                    </a:lnTo>
                    <a:lnTo>
                      <a:pt x="58380" y="49020"/>
                    </a:lnTo>
                    <a:lnTo>
                      <a:pt x="73020" y="0"/>
                    </a:lnTo>
                    <a:lnTo>
                      <a:pt x="80460" y="0"/>
                    </a:lnTo>
                    <a:lnTo>
                      <a:pt x="62040" y="57240"/>
                    </a:lnTo>
                    <a:lnTo>
                      <a:pt x="54360" y="57240"/>
                    </a:lnTo>
                    <a:lnTo>
                      <a:pt x="40260" y="9060"/>
                    </a:lnTo>
                    <a:lnTo>
                      <a:pt x="40020" y="9060"/>
                    </a:lnTo>
                    <a:lnTo>
                      <a:pt x="26040" y="57240"/>
                    </a:lnTo>
                    <a:lnTo>
                      <a:pt x="18360" y="57240"/>
                    </a:lnTo>
                    <a:lnTo>
                      <a:pt x="0" y="0"/>
                    </a:lnTo>
                    <a:close/>
                  </a:path>
                </a:pathLst>
              </a:custGeom>
              <a:solidFill>
                <a:srgbClr val="06357A"/>
              </a:solidFill>
              <a:ln w="598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772E41CB-24F6-3224-1029-3DAAFCEEBCDD}"/>
                  </a:ext>
                </a:extLst>
              </p:cNvPr>
              <p:cNvSpPr/>
              <p:nvPr/>
            </p:nvSpPr>
            <p:spPr>
              <a:xfrm>
                <a:off x="1846559" y="701279"/>
                <a:ext cx="64440" cy="80880"/>
              </a:xfrm>
              <a:custGeom>
                <a:avLst/>
                <a:gdLst>
                  <a:gd name="connsiteX0" fmla="*/ 47220 w 64440"/>
                  <a:gd name="connsiteY0" fmla="*/ 68880 h 80880"/>
                  <a:gd name="connsiteX1" fmla="*/ 23940 w 64440"/>
                  <a:gd name="connsiteY1" fmla="*/ 80880 h 80880"/>
                  <a:gd name="connsiteX2" fmla="*/ 0 w 64440"/>
                  <a:gd name="connsiteY2" fmla="*/ 58680 h 80880"/>
                  <a:gd name="connsiteX3" fmla="*/ 19440 w 64440"/>
                  <a:gd name="connsiteY3" fmla="*/ 35160 h 80880"/>
                  <a:gd name="connsiteX4" fmla="*/ 9660 w 64440"/>
                  <a:gd name="connsiteY4" fmla="*/ 16080 h 80880"/>
                  <a:gd name="connsiteX5" fmla="*/ 27180 w 64440"/>
                  <a:gd name="connsiteY5" fmla="*/ 0 h 80880"/>
                  <a:gd name="connsiteX6" fmla="*/ 44700 w 64440"/>
                  <a:gd name="connsiteY6" fmla="*/ 16080 h 80880"/>
                  <a:gd name="connsiteX7" fmla="*/ 29160 w 64440"/>
                  <a:gd name="connsiteY7" fmla="*/ 36600 h 80880"/>
                  <a:gd name="connsiteX8" fmla="*/ 46440 w 64440"/>
                  <a:gd name="connsiteY8" fmla="*/ 57480 h 80880"/>
                  <a:gd name="connsiteX9" fmla="*/ 48780 w 64440"/>
                  <a:gd name="connsiteY9" fmla="*/ 44160 h 80880"/>
                  <a:gd name="connsiteX10" fmla="*/ 55800 w 64440"/>
                  <a:gd name="connsiteY10" fmla="*/ 44160 h 80880"/>
                  <a:gd name="connsiteX11" fmla="*/ 51120 w 64440"/>
                  <a:gd name="connsiteY11" fmla="*/ 63120 h 80880"/>
                  <a:gd name="connsiteX12" fmla="*/ 64440 w 64440"/>
                  <a:gd name="connsiteY12" fmla="*/ 79200 h 80880"/>
                  <a:gd name="connsiteX13" fmla="*/ 55680 w 64440"/>
                  <a:gd name="connsiteY13" fmla="*/ 79200 h 80880"/>
                  <a:gd name="connsiteX14" fmla="*/ 47220 w 64440"/>
                  <a:gd name="connsiteY14" fmla="*/ 68880 h 80880"/>
                  <a:gd name="connsiteX15" fmla="*/ 23160 w 64440"/>
                  <a:gd name="connsiteY15" fmla="*/ 39660 h 80880"/>
                  <a:gd name="connsiteX16" fmla="*/ 6960 w 64440"/>
                  <a:gd name="connsiteY16" fmla="*/ 59280 h 80880"/>
                  <a:gd name="connsiteX17" fmla="*/ 24180 w 64440"/>
                  <a:gd name="connsiteY17" fmla="*/ 74940 h 80880"/>
                  <a:gd name="connsiteX18" fmla="*/ 42900 w 64440"/>
                  <a:gd name="connsiteY18" fmla="*/ 63600 h 80880"/>
                  <a:gd name="connsiteX19" fmla="*/ 23160 w 64440"/>
                  <a:gd name="connsiteY19" fmla="*/ 39660 h 80880"/>
                  <a:gd name="connsiteX20" fmla="*/ 16620 w 64440"/>
                  <a:gd name="connsiteY20" fmla="*/ 16020 h 80880"/>
                  <a:gd name="connsiteX21" fmla="*/ 25500 w 64440"/>
                  <a:gd name="connsiteY21" fmla="*/ 31980 h 80880"/>
                  <a:gd name="connsiteX22" fmla="*/ 37680 w 64440"/>
                  <a:gd name="connsiteY22" fmla="*/ 16020 h 80880"/>
                  <a:gd name="connsiteX23" fmla="*/ 27120 w 64440"/>
                  <a:gd name="connsiteY23" fmla="*/ 5820 h 80880"/>
                  <a:gd name="connsiteX24" fmla="*/ 16620 w 64440"/>
                  <a:gd name="connsiteY24" fmla="*/ 16020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440" h="80880">
                    <a:moveTo>
                      <a:pt x="47220" y="68880"/>
                    </a:moveTo>
                    <a:cubicBezTo>
                      <a:pt x="41460" y="76080"/>
                      <a:pt x="33240" y="80880"/>
                      <a:pt x="23940" y="80880"/>
                    </a:cubicBezTo>
                    <a:cubicBezTo>
                      <a:pt x="10320" y="80880"/>
                      <a:pt x="0" y="73020"/>
                      <a:pt x="0" y="58680"/>
                    </a:cubicBezTo>
                    <a:cubicBezTo>
                      <a:pt x="0" y="47460"/>
                      <a:pt x="10560" y="39900"/>
                      <a:pt x="19440" y="35160"/>
                    </a:cubicBezTo>
                    <a:cubicBezTo>
                      <a:pt x="15120" y="29640"/>
                      <a:pt x="9660" y="23700"/>
                      <a:pt x="9660" y="16080"/>
                    </a:cubicBezTo>
                    <a:cubicBezTo>
                      <a:pt x="9660" y="6420"/>
                      <a:pt x="17520" y="0"/>
                      <a:pt x="27180" y="0"/>
                    </a:cubicBezTo>
                    <a:cubicBezTo>
                      <a:pt x="36840" y="0"/>
                      <a:pt x="44700" y="6420"/>
                      <a:pt x="44700" y="16080"/>
                    </a:cubicBezTo>
                    <a:cubicBezTo>
                      <a:pt x="44700" y="25980"/>
                      <a:pt x="37020" y="31620"/>
                      <a:pt x="29160" y="36600"/>
                    </a:cubicBezTo>
                    <a:lnTo>
                      <a:pt x="46440" y="57480"/>
                    </a:lnTo>
                    <a:cubicBezTo>
                      <a:pt x="48300" y="53580"/>
                      <a:pt x="48780" y="50280"/>
                      <a:pt x="48780" y="44160"/>
                    </a:cubicBezTo>
                    <a:lnTo>
                      <a:pt x="55800" y="44160"/>
                    </a:lnTo>
                    <a:cubicBezTo>
                      <a:pt x="55800" y="48600"/>
                      <a:pt x="54780" y="56340"/>
                      <a:pt x="51120" y="63120"/>
                    </a:cubicBezTo>
                    <a:lnTo>
                      <a:pt x="64440" y="79200"/>
                    </a:lnTo>
                    <a:lnTo>
                      <a:pt x="55680" y="79200"/>
                    </a:lnTo>
                    <a:lnTo>
                      <a:pt x="47220" y="68880"/>
                    </a:lnTo>
                    <a:close/>
                    <a:moveTo>
                      <a:pt x="23160" y="39660"/>
                    </a:moveTo>
                    <a:cubicBezTo>
                      <a:pt x="15480" y="43740"/>
                      <a:pt x="6960" y="49740"/>
                      <a:pt x="6960" y="59280"/>
                    </a:cubicBezTo>
                    <a:cubicBezTo>
                      <a:pt x="6960" y="68580"/>
                      <a:pt x="15300" y="74940"/>
                      <a:pt x="24180" y="74940"/>
                    </a:cubicBezTo>
                    <a:cubicBezTo>
                      <a:pt x="32160" y="74940"/>
                      <a:pt x="38520" y="69960"/>
                      <a:pt x="42900" y="63600"/>
                    </a:cubicBezTo>
                    <a:lnTo>
                      <a:pt x="23160" y="39660"/>
                    </a:lnTo>
                    <a:close/>
                    <a:moveTo>
                      <a:pt x="16620" y="16020"/>
                    </a:moveTo>
                    <a:cubicBezTo>
                      <a:pt x="16620" y="21540"/>
                      <a:pt x="21960" y="27780"/>
                      <a:pt x="25500" y="31980"/>
                    </a:cubicBezTo>
                    <a:cubicBezTo>
                      <a:pt x="31020" y="28440"/>
                      <a:pt x="37680" y="23760"/>
                      <a:pt x="37680" y="16020"/>
                    </a:cubicBezTo>
                    <a:cubicBezTo>
                      <a:pt x="37680" y="9360"/>
                      <a:pt x="32940" y="5820"/>
                      <a:pt x="27120" y="5820"/>
                    </a:cubicBezTo>
                    <a:cubicBezTo>
                      <a:pt x="21360" y="5820"/>
                      <a:pt x="16620" y="9360"/>
                      <a:pt x="16620" y="16020"/>
                    </a:cubicBezTo>
                    <a:close/>
                  </a:path>
                </a:pathLst>
              </a:custGeom>
              <a:solidFill>
                <a:srgbClr val="06357A"/>
              </a:solidFill>
              <a:ln w="598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45407377-FEDE-A237-0EAA-03ADEDEFE926}"/>
                  </a:ext>
                </a:extLst>
              </p:cNvPr>
              <p:cNvSpPr/>
              <p:nvPr/>
            </p:nvSpPr>
            <p:spPr>
              <a:xfrm>
                <a:off x="1940219" y="701219"/>
                <a:ext cx="62880" cy="79200"/>
              </a:xfrm>
              <a:custGeom>
                <a:avLst/>
                <a:gdLst>
                  <a:gd name="connsiteX0" fmla="*/ 60 w 62880"/>
                  <a:gd name="connsiteY0" fmla="*/ 0 h 79200"/>
                  <a:gd name="connsiteX1" fmla="*/ 62880 w 62880"/>
                  <a:gd name="connsiteY1" fmla="*/ 0 h 79200"/>
                  <a:gd name="connsiteX2" fmla="*/ 62880 w 62880"/>
                  <a:gd name="connsiteY2" fmla="*/ 6420 h 79200"/>
                  <a:gd name="connsiteX3" fmla="*/ 35220 w 62880"/>
                  <a:gd name="connsiteY3" fmla="*/ 6420 h 79200"/>
                  <a:gd name="connsiteX4" fmla="*/ 35220 w 62880"/>
                  <a:gd name="connsiteY4" fmla="*/ 79200 h 79200"/>
                  <a:gd name="connsiteX5" fmla="*/ 27660 w 62880"/>
                  <a:gd name="connsiteY5" fmla="*/ 79200 h 79200"/>
                  <a:gd name="connsiteX6" fmla="*/ 27660 w 62880"/>
                  <a:gd name="connsiteY6" fmla="*/ 6420 h 79200"/>
                  <a:gd name="connsiteX7" fmla="*/ 0 w 62880"/>
                  <a:gd name="connsiteY7" fmla="*/ 6420 h 79200"/>
                  <a:gd name="connsiteX8" fmla="*/ 0 w 62880"/>
                  <a:gd name="connsiteY8" fmla="*/ 0 h 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80" h="79200">
                    <a:moveTo>
                      <a:pt x="60" y="0"/>
                    </a:moveTo>
                    <a:lnTo>
                      <a:pt x="62880" y="0"/>
                    </a:lnTo>
                    <a:lnTo>
                      <a:pt x="62880" y="6420"/>
                    </a:lnTo>
                    <a:lnTo>
                      <a:pt x="35220" y="6420"/>
                    </a:lnTo>
                    <a:lnTo>
                      <a:pt x="35220" y="79200"/>
                    </a:lnTo>
                    <a:lnTo>
                      <a:pt x="27660" y="79200"/>
                    </a:lnTo>
                    <a:lnTo>
                      <a:pt x="27660" y="6420"/>
                    </a:lnTo>
                    <a:lnTo>
                      <a:pt x="0" y="6420"/>
                    </a:lnTo>
                    <a:lnTo>
                      <a:pt x="0" y="0"/>
                    </a:lnTo>
                    <a:close/>
                  </a:path>
                </a:pathLst>
              </a:custGeom>
              <a:solidFill>
                <a:srgbClr val="06357A"/>
              </a:solidFill>
              <a:ln w="598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5812581-AB35-0C16-60E4-7FB199205EFE}"/>
                  </a:ext>
                </a:extLst>
              </p:cNvPr>
              <p:cNvSpPr/>
              <p:nvPr/>
            </p:nvSpPr>
            <p:spPr>
              <a:xfrm>
                <a:off x="1993739" y="721500"/>
                <a:ext cx="53100" cy="60599"/>
              </a:xfrm>
              <a:custGeom>
                <a:avLst/>
                <a:gdLst>
                  <a:gd name="connsiteX0" fmla="*/ 2520 w 53100"/>
                  <a:gd name="connsiteY0" fmla="*/ 19200 h 60599"/>
                  <a:gd name="connsiteX1" fmla="*/ 25740 w 53100"/>
                  <a:gd name="connsiteY1" fmla="*/ 0 h 60599"/>
                  <a:gd name="connsiteX2" fmla="*/ 46800 w 53100"/>
                  <a:gd name="connsiteY2" fmla="*/ 18420 h 60599"/>
                  <a:gd name="connsiteX3" fmla="*/ 46800 w 53100"/>
                  <a:gd name="connsiteY3" fmla="*/ 48840 h 60599"/>
                  <a:gd name="connsiteX4" fmla="*/ 50880 w 53100"/>
                  <a:gd name="connsiteY4" fmla="*/ 53040 h 60599"/>
                  <a:gd name="connsiteX5" fmla="*/ 53100 w 53100"/>
                  <a:gd name="connsiteY5" fmla="*/ 52620 h 60599"/>
                  <a:gd name="connsiteX6" fmla="*/ 53100 w 53100"/>
                  <a:gd name="connsiteY6" fmla="*/ 58500 h 60599"/>
                  <a:gd name="connsiteX7" fmla="*/ 48540 w 53100"/>
                  <a:gd name="connsiteY7" fmla="*/ 58920 h 60599"/>
                  <a:gd name="connsiteX8" fmla="*/ 40320 w 53100"/>
                  <a:gd name="connsiteY8" fmla="*/ 48960 h 60599"/>
                  <a:gd name="connsiteX9" fmla="*/ 40080 w 53100"/>
                  <a:gd name="connsiteY9" fmla="*/ 48960 h 60599"/>
                  <a:gd name="connsiteX10" fmla="*/ 19200 w 53100"/>
                  <a:gd name="connsiteY10" fmla="*/ 60600 h 60599"/>
                  <a:gd name="connsiteX11" fmla="*/ 0 w 53100"/>
                  <a:gd name="connsiteY11" fmla="*/ 43860 h 60599"/>
                  <a:gd name="connsiteX12" fmla="*/ 30720 w 53100"/>
                  <a:gd name="connsiteY12" fmla="*/ 25440 h 60599"/>
                  <a:gd name="connsiteX13" fmla="*/ 39720 w 53100"/>
                  <a:gd name="connsiteY13" fmla="*/ 17700 h 60599"/>
                  <a:gd name="connsiteX14" fmla="*/ 24720 w 53100"/>
                  <a:gd name="connsiteY14" fmla="*/ 5940 h 60599"/>
                  <a:gd name="connsiteX15" fmla="*/ 9420 w 53100"/>
                  <a:gd name="connsiteY15" fmla="*/ 19260 h 60599"/>
                  <a:gd name="connsiteX16" fmla="*/ 2520 w 53100"/>
                  <a:gd name="connsiteY16" fmla="*/ 19260 h 60599"/>
                  <a:gd name="connsiteX17" fmla="*/ 39840 w 53100"/>
                  <a:gd name="connsiteY17" fmla="*/ 27660 h 60599"/>
                  <a:gd name="connsiteX18" fmla="*/ 39600 w 53100"/>
                  <a:gd name="connsiteY18" fmla="*/ 27660 h 60599"/>
                  <a:gd name="connsiteX19" fmla="*/ 33720 w 53100"/>
                  <a:gd name="connsiteY19" fmla="*/ 30180 h 60599"/>
                  <a:gd name="connsiteX20" fmla="*/ 7080 w 53100"/>
                  <a:gd name="connsiteY20" fmla="*/ 43380 h 60599"/>
                  <a:gd name="connsiteX21" fmla="*/ 19860 w 53100"/>
                  <a:gd name="connsiteY21" fmla="*/ 54720 h 60599"/>
                  <a:gd name="connsiteX22" fmla="*/ 39840 w 53100"/>
                  <a:gd name="connsiteY22" fmla="*/ 36720 h 60599"/>
                  <a:gd name="connsiteX23" fmla="*/ 39840 w 53100"/>
                  <a:gd name="connsiteY23" fmla="*/ 27660 h 6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00" h="60599">
                    <a:moveTo>
                      <a:pt x="2520" y="19200"/>
                    </a:moveTo>
                    <a:cubicBezTo>
                      <a:pt x="3300" y="5760"/>
                      <a:pt x="12480" y="0"/>
                      <a:pt x="25740" y="0"/>
                    </a:cubicBezTo>
                    <a:cubicBezTo>
                      <a:pt x="35820" y="0"/>
                      <a:pt x="46800" y="3000"/>
                      <a:pt x="46800" y="18420"/>
                    </a:cubicBezTo>
                    <a:lnTo>
                      <a:pt x="46800" y="48840"/>
                    </a:lnTo>
                    <a:cubicBezTo>
                      <a:pt x="46800" y="51600"/>
                      <a:pt x="48120" y="53040"/>
                      <a:pt x="50880" y="53040"/>
                    </a:cubicBezTo>
                    <a:cubicBezTo>
                      <a:pt x="51660" y="53040"/>
                      <a:pt x="52320" y="52920"/>
                      <a:pt x="53100" y="52620"/>
                    </a:cubicBezTo>
                    <a:lnTo>
                      <a:pt x="53100" y="58500"/>
                    </a:lnTo>
                    <a:cubicBezTo>
                      <a:pt x="51420" y="58860"/>
                      <a:pt x="50460" y="58920"/>
                      <a:pt x="48540" y="58920"/>
                    </a:cubicBezTo>
                    <a:cubicBezTo>
                      <a:pt x="41460" y="58920"/>
                      <a:pt x="40320" y="54840"/>
                      <a:pt x="40320" y="48960"/>
                    </a:cubicBezTo>
                    <a:lnTo>
                      <a:pt x="40080" y="48960"/>
                    </a:lnTo>
                    <a:cubicBezTo>
                      <a:pt x="35100" y="56400"/>
                      <a:pt x="30300" y="60600"/>
                      <a:pt x="19200" y="60600"/>
                    </a:cubicBezTo>
                    <a:cubicBezTo>
                      <a:pt x="8520" y="60600"/>
                      <a:pt x="0" y="55380"/>
                      <a:pt x="0" y="43860"/>
                    </a:cubicBezTo>
                    <a:cubicBezTo>
                      <a:pt x="0" y="27900"/>
                      <a:pt x="15660" y="27240"/>
                      <a:pt x="30720" y="25440"/>
                    </a:cubicBezTo>
                    <a:cubicBezTo>
                      <a:pt x="36480" y="24900"/>
                      <a:pt x="39720" y="23880"/>
                      <a:pt x="39720" y="17700"/>
                    </a:cubicBezTo>
                    <a:cubicBezTo>
                      <a:pt x="39720" y="8280"/>
                      <a:pt x="33060" y="5940"/>
                      <a:pt x="24720" y="5940"/>
                    </a:cubicBezTo>
                    <a:cubicBezTo>
                      <a:pt x="15960" y="5940"/>
                      <a:pt x="9720" y="9960"/>
                      <a:pt x="9420" y="19260"/>
                    </a:cubicBezTo>
                    <a:lnTo>
                      <a:pt x="2520" y="19260"/>
                    </a:lnTo>
                    <a:close/>
                    <a:moveTo>
                      <a:pt x="39840" y="27660"/>
                    </a:moveTo>
                    <a:lnTo>
                      <a:pt x="39600" y="27660"/>
                    </a:lnTo>
                    <a:cubicBezTo>
                      <a:pt x="38700" y="29340"/>
                      <a:pt x="35580" y="29880"/>
                      <a:pt x="33720" y="30180"/>
                    </a:cubicBezTo>
                    <a:cubicBezTo>
                      <a:pt x="21840" y="32280"/>
                      <a:pt x="7080" y="32280"/>
                      <a:pt x="7080" y="43380"/>
                    </a:cubicBezTo>
                    <a:cubicBezTo>
                      <a:pt x="7080" y="50400"/>
                      <a:pt x="13200" y="54720"/>
                      <a:pt x="19860" y="54720"/>
                    </a:cubicBezTo>
                    <a:cubicBezTo>
                      <a:pt x="30600" y="54720"/>
                      <a:pt x="39840" y="47940"/>
                      <a:pt x="39840" y="36720"/>
                    </a:cubicBezTo>
                    <a:lnTo>
                      <a:pt x="39840" y="27660"/>
                    </a:lnTo>
                    <a:close/>
                  </a:path>
                </a:pathLst>
              </a:custGeom>
              <a:solidFill>
                <a:srgbClr val="06357A"/>
              </a:solidFill>
              <a:ln w="5989"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81238E1D-CE90-FE3A-14A1-F5246C2062FC}"/>
                  </a:ext>
                </a:extLst>
              </p:cNvPr>
              <p:cNvSpPr/>
              <p:nvPr/>
            </p:nvSpPr>
            <p:spPr>
              <a:xfrm>
                <a:off x="2047979" y="723180"/>
                <a:ext cx="53159" cy="57240"/>
              </a:xfrm>
              <a:custGeom>
                <a:avLst/>
                <a:gdLst>
                  <a:gd name="connsiteX0" fmla="*/ 22200 w 53159"/>
                  <a:gd name="connsiteY0" fmla="*/ 27540 h 57240"/>
                  <a:gd name="connsiteX1" fmla="*/ 1680 w 53159"/>
                  <a:gd name="connsiteY1" fmla="*/ 0 h 57240"/>
                  <a:gd name="connsiteX2" fmla="*/ 10440 w 53159"/>
                  <a:gd name="connsiteY2" fmla="*/ 0 h 57240"/>
                  <a:gd name="connsiteX3" fmla="*/ 26760 w 53159"/>
                  <a:gd name="connsiteY3" fmla="*/ 21720 h 57240"/>
                  <a:gd name="connsiteX4" fmla="*/ 42720 w 53159"/>
                  <a:gd name="connsiteY4" fmla="*/ 0 h 57240"/>
                  <a:gd name="connsiteX5" fmla="*/ 51480 w 53159"/>
                  <a:gd name="connsiteY5" fmla="*/ 0 h 57240"/>
                  <a:gd name="connsiteX6" fmla="*/ 30840 w 53159"/>
                  <a:gd name="connsiteY6" fmla="*/ 27420 h 57240"/>
                  <a:gd name="connsiteX7" fmla="*/ 53160 w 53159"/>
                  <a:gd name="connsiteY7" fmla="*/ 57240 h 57240"/>
                  <a:gd name="connsiteX8" fmla="*/ 44280 w 53159"/>
                  <a:gd name="connsiteY8" fmla="*/ 57240 h 57240"/>
                  <a:gd name="connsiteX9" fmla="*/ 26280 w 53159"/>
                  <a:gd name="connsiteY9" fmla="*/ 33180 h 57240"/>
                  <a:gd name="connsiteX10" fmla="*/ 8640 w 53159"/>
                  <a:gd name="connsiteY10" fmla="*/ 57240 h 57240"/>
                  <a:gd name="connsiteX11" fmla="*/ 0 w 53159"/>
                  <a:gd name="connsiteY11" fmla="*/ 57240 h 57240"/>
                  <a:gd name="connsiteX12" fmla="*/ 22200 w 53159"/>
                  <a:gd name="connsiteY12" fmla="*/ 27540 h 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159" h="57240">
                    <a:moveTo>
                      <a:pt x="22200" y="27540"/>
                    </a:moveTo>
                    <a:lnTo>
                      <a:pt x="1680" y="0"/>
                    </a:lnTo>
                    <a:lnTo>
                      <a:pt x="10440" y="0"/>
                    </a:lnTo>
                    <a:lnTo>
                      <a:pt x="26760" y="21720"/>
                    </a:lnTo>
                    <a:lnTo>
                      <a:pt x="42720" y="0"/>
                    </a:lnTo>
                    <a:lnTo>
                      <a:pt x="51480" y="0"/>
                    </a:lnTo>
                    <a:lnTo>
                      <a:pt x="30840" y="27420"/>
                    </a:lnTo>
                    <a:lnTo>
                      <a:pt x="53160" y="57240"/>
                    </a:lnTo>
                    <a:lnTo>
                      <a:pt x="44280" y="57240"/>
                    </a:lnTo>
                    <a:lnTo>
                      <a:pt x="26280" y="33180"/>
                    </a:lnTo>
                    <a:lnTo>
                      <a:pt x="8640" y="57240"/>
                    </a:lnTo>
                    <a:lnTo>
                      <a:pt x="0" y="57240"/>
                    </a:lnTo>
                    <a:lnTo>
                      <a:pt x="22200" y="27540"/>
                    </a:lnTo>
                    <a:close/>
                  </a:path>
                </a:pathLst>
              </a:custGeom>
              <a:solidFill>
                <a:srgbClr val="06357A"/>
              </a:solidFill>
              <a:ln w="5989" cap="flat">
                <a:noFill/>
                <a:prstDash val="solid"/>
                <a:miter/>
              </a:ln>
            </p:spPr>
            <p:txBody>
              <a:bodyPr rtlCol="0" anchor="ctr"/>
              <a:lstStyle/>
              <a:p>
                <a:endParaRPr lang="en-GB"/>
              </a:p>
            </p:txBody>
          </p:sp>
        </p:grpSp>
      </p:grpSp>
      <p:pic>
        <p:nvPicPr>
          <p:cNvPr id="49" name="Graphic 48">
            <a:extLst>
              <a:ext uri="{FF2B5EF4-FFF2-40B4-BE49-F238E27FC236}">
                <a16:creationId xmlns:a16="http://schemas.microsoft.com/office/drawing/2014/main" id="{2E8EBBD5-F18A-8816-77C1-A84371DB42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10833" y="438287"/>
            <a:ext cx="2017642" cy="156020"/>
          </a:xfrm>
          <a:prstGeom prst="rect">
            <a:avLst/>
          </a:prstGeom>
        </p:spPr>
      </p:pic>
      <p:cxnSp>
        <p:nvCxnSpPr>
          <p:cNvPr id="51" name="Straight Connector 50">
            <a:extLst>
              <a:ext uri="{FF2B5EF4-FFF2-40B4-BE49-F238E27FC236}">
                <a16:creationId xmlns:a16="http://schemas.microsoft.com/office/drawing/2014/main" id="{729E4BED-0302-0079-D7D4-81083FB37CF4}"/>
              </a:ext>
            </a:extLst>
          </p:cNvPr>
          <p:cNvCxnSpPr>
            <a:cxnSpLocks/>
          </p:cNvCxnSpPr>
          <p:nvPr/>
        </p:nvCxnSpPr>
        <p:spPr>
          <a:xfrm>
            <a:off x="263506" y="1734156"/>
            <a:ext cx="149449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 Placeholder 32">
            <a:extLst>
              <a:ext uri="{FF2B5EF4-FFF2-40B4-BE49-F238E27FC236}">
                <a16:creationId xmlns:a16="http://schemas.microsoft.com/office/drawing/2014/main" id="{827A96E0-1F16-1BF7-87C9-4C66AE382CF0}"/>
              </a:ext>
            </a:extLst>
          </p:cNvPr>
          <p:cNvSpPr>
            <a:spLocks noGrp="1"/>
          </p:cNvSpPr>
          <p:nvPr>
            <p:ph type="body" sz="quarter" idx="18" hasCustomPrompt="1"/>
          </p:nvPr>
        </p:nvSpPr>
        <p:spPr>
          <a:xfrm>
            <a:off x="730674" y="1364301"/>
            <a:ext cx="1836934" cy="184666"/>
          </a:xfrm>
          <a:prstGeom prst="rect">
            <a:avLst/>
          </a:prstGeom>
        </p:spPr>
        <p:txBody>
          <a:bodyPr/>
          <a:lstStyle>
            <a:lvl1pPr>
              <a:lnSpc>
                <a:spcPct val="100000"/>
              </a:lnSpc>
              <a:spcBef>
                <a:spcPts val="0"/>
              </a:spcBef>
              <a:defRPr sz="1200" b="0">
                <a:solidFill>
                  <a:schemeClr val="bg1"/>
                </a:solidFill>
              </a:defRPr>
            </a:lvl1pPr>
          </a:lstStyle>
          <a:p>
            <a:pPr lvl="0"/>
            <a:r>
              <a:rPr lang="en-GB"/>
              <a:t>Date</a:t>
            </a:r>
          </a:p>
        </p:txBody>
      </p:sp>
      <p:sp>
        <p:nvSpPr>
          <p:cNvPr id="4" name="Title 3">
            <a:extLst>
              <a:ext uri="{FF2B5EF4-FFF2-40B4-BE49-F238E27FC236}">
                <a16:creationId xmlns:a16="http://schemas.microsoft.com/office/drawing/2014/main" id="{F884C1FF-581C-0842-D9F5-293D8E12399F}"/>
              </a:ext>
            </a:extLst>
          </p:cNvPr>
          <p:cNvSpPr>
            <a:spLocks noGrp="1"/>
          </p:cNvSpPr>
          <p:nvPr>
            <p:ph type="title"/>
          </p:nvPr>
        </p:nvSpPr>
        <p:spPr>
          <a:xfrm>
            <a:off x="730675" y="1918809"/>
            <a:ext cx="3169082" cy="718145"/>
          </a:xfrm>
        </p:spPr>
        <p:txBody>
          <a:bodyPr/>
          <a:lstStyle>
            <a:lvl1pPr>
              <a:lnSpc>
                <a:spcPts val="2800"/>
              </a:lnSpc>
              <a:defRPr sz="2400" b="1">
                <a:solidFill>
                  <a:schemeClr val="bg1"/>
                </a:solidFill>
              </a:defRPr>
            </a:lvl1pPr>
          </a:lstStyle>
          <a:p>
            <a:r>
              <a:rPr lang="en-US"/>
              <a:t>Click to edit Master title style</a:t>
            </a:r>
            <a:endParaRPr lang="en-GB"/>
          </a:p>
        </p:txBody>
      </p:sp>
      <p:sp>
        <p:nvSpPr>
          <p:cNvPr id="6" name="Text Placeholder 32">
            <a:extLst>
              <a:ext uri="{FF2B5EF4-FFF2-40B4-BE49-F238E27FC236}">
                <a16:creationId xmlns:a16="http://schemas.microsoft.com/office/drawing/2014/main" id="{74A642A1-F7E7-C344-7B8C-E2D1F2240553}"/>
              </a:ext>
            </a:extLst>
          </p:cNvPr>
          <p:cNvSpPr>
            <a:spLocks noGrp="1"/>
          </p:cNvSpPr>
          <p:nvPr>
            <p:ph type="body" sz="quarter" idx="19" hasCustomPrompt="1"/>
          </p:nvPr>
        </p:nvSpPr>
        <p:spPr>
          <a:xfrm>
            <a:off x="730675" y="5744741"/>
            <a:ext cx="3169081" cy="138499"/>
          </a:xfrm>
          <a:prstGeom prst="rect">
            <a:avLst/>
          </a:prstGeom>
        </p:spPr>
        <p:txBody>
          <a:bodyPr/>
          <a:lstStyle>
            <a:lvl1pPr>
              <a:lnSpc>
                <a:spcPct val="100000"/>
              </a:lnSpc>
              <a:spcBef>
                <a:spcPts val="0"/>
              </a:spcBef>
              <a:defRPr sz="900" b="0">
                <a:solidFill>
                  <a:schemeClr val="bg1"/>
                </a:solidFill>
              </a:defRPr>
            </a:lvl1pPr>
          </a:lstStyle>
          <a:p>
            <a:pPr lvl="0"/>
            <a:r>
              <a:rPr lang="en-GB" err="1"/>
              <a:t>Loyens</a:t>
            </a:r>
            <a:r>
              <a:rPr lang="en-GB"/>
              <a:t> &amp; </a:t>
            </a:r>
            <a:r>
              <a:rPr lang="en-GB" err="1"/>
              <a:t>Loeff</a:t>
            </a:r>
            <a:r>
              <a:rPr lang="en-GB"/>
              <a:t> Practice Group</a:t>
            </a:r>
          </a:p>
        </p:txBody>
      </p:sp>
      <p:cxnSp>
        <p:nvCxnSpPr>
          <p:cNvPr id="7" name="Straight Connector 6">
            <a:extLst>
              <a:ext uri="{FF2B5EF4-FFF2-40B4-BE49-F238E27FC236}">
                <a16:creationId xmlns:a16="http://schemas.microsoft.com/office/drawing/2014/main" id="{C03925A0-DB7D-BEDB-9603-11EB4B4BDC34}"/>
              </a:ext>
            </a:extLst>
          </p:cNvPr>
          <p:cNvCxnSpPr>
            <a:cxnSpLocks/>
          </p:cNvCxnSpPr>
          <p:nvPr/>
        </p:nvCxnSpPr>
        <p:spPr>
          <a:xfrm>
            <a:off x="730675" y="5337212"/>
            <a:ext cx="72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CC196E0-8E84-7F44-FC27-A5457C447B20}"/>
              </a:ext>
            </a:extLst>
          </p:cNvPr>
          <p:cNvSpPr>
            <a:spLocks noGrp="1"/>
          </p:cNvSpPr>
          <p:nvPr>
            <p:ph type="ftr" sz="quarter" idx="21"/>
          </p:nvPr>
        </p:nvSpPr>
        <p:spPr>
          <a:xfrm>
            <a:off x="723076" y="5983400"/>
            <a:ext cx="3176681" cy="138498"/>
          </a:xfrm>
        </p:spPr>
        <p:txBody>
          <a:bodyPr vert="horz" wrap="square" lIns="0" tIns="0" rIns="0" bIns="0" rtlCol="0">
            <a:spAutoFit/>
          </a:bodyPr>
          <a:lstStyle>
            <a:lvl1pPr>
              <a:defRPr lang="en-GB" b="0" smtClean="0">
                <a:solidFill>
                  <a:schemeClr val="bg1"/>
                </a:solidFill>
              </a:defRPr>
            </a:lvl1pPr>
          </a:lstStyle>
          <a:p>
            <a:pPr>
              <a:buFont typeface="Arial" panose="020B0604020202020204" pitchFamily="34" charset="0"/>
              <a:buNone/>
            </a:pPr>
            <a:r>
              <a:rPr lang="nl-NL"/>
              <a:t>DMS number</a:t>
            </a:r>
          </a:p>
        </p:txBody>
      </p:sp>
    </p:spTree>
    <p:extLst>
      <p:ext uri="{BB962C8B-B14F-4D97-AF65-F5344CB8AC3E}">
        <p14:creationId xmlns:p14="http://schemas.microsoft.com/office/powerpoint/2010/main" val="152898183"/>
      </p:ext>
    </p:extLst>
  </p:cSld>
  <p:clrMapOvr>
    <a:masterClrMapping/>
  </p:clrMapOvr>
  <p:extLst>
    <p:ext uri="{DCECCB84-F9BA-43D5-87BE-67443E8EF086}">
      <p15:sldGuideLst xmlns:p15="http://schemas.microsoft.com/office/powerpoint/2012/main">
        <p15:guide id="1" pos="461">
          <p15:clr>
            <a:srgbClr val="FBAE40"/>
          </p15:clr>
        </p15:guide>
        <p15:guide id="2" orient="horz" pos="12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left - image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Agenda title - large image </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11664950"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 name="Text Placeholder 4">
            <a:extLst>
              <a:ext uri="{FF2B5EF4-FFF2-40B4-BE49-F238E27FC236}">
                <a16:creationId xmlns:a16="http://schemas.microsoft.com/office/drawing/2014/main" id="{29256E9E-37D2-B354-F3D4-49B4312178F7}"/>
              </a:ext>
            </a:extLst>
          </p:cNvPr>
          <p:cNvSpPr>
            <a:spLocks noGrp="1"/>
          </p:cNvSpPr>
          <p:nvPr>
            <p:ph type="body" sz="quarter" idx="10" hasCustomPrompt="1"/>
          </p:nvPr>
        </p:nvSpPr>
        <p:spPr>
          <a:xfrm>
            <a:off x="1019436" y="1452563"/>
            <a:ext cx="5644800" cy="2811026"/>
          </a:xfrm>
        </p:spPr>
        <p:txBody>
          <a:bodyPr/>
          <a:lstStyle>
            <a:lvl1pPr marL="442913" indent="-442913">
              <a:buFont typeface="+mj-lt"/>
              <a:buAutoNum type="arabicPeriod"/>
              <a:tabLst>
                <a:tab pos="5561013" algn="r"/>
              </a:tabLst>
              <a:defRPr>
                <a:solidFill>
                  <a:schemeClr val="bg1"/>
                </a:solidFill>
              </a:defRPr>
            </a:lvl1pPr>
            <a:lvl2pPr>
              <a:buClr>
                <a:schemeClr val="accent2">
                  <a:lumMod val="60000"/>
                  <a:lumOff val="40000"/>
                </a:schemeClr>
              </a:buClr>
              <a:tabLst>
                <a:tab pos="5561013" algn="r"/>
              </a:tabLst>
              <a:defRPr>
                <a:solidFill>
                  <a:schemeClr val="bg1"/>
                </a:solidFill>
              </a:defRPr>
            </a:lvl2pPr>
            <a:lvl3pPr>
              <a:buClr>
                <a:schemeClr val="accent2">
                  <a:lumMod val="60000"/>
                  <a:lumOff val="40000"/>
                </a:schemeClr>
              </a:buClr>
              <a:tabLst>
                <a:tab pos="5561013" algn="r"/>
              </a:tabLst>
              <a:defRPr>
                <a:solidFill>
                  <a:schemeClr val="bg1"/>
                </a:solidFill>
              </a:defRPr>
            </a:lvl3pPr>
            <a:lvl4pPr>
              <a:buClr>
                <a:schemeClr val="accent2">
                  <a:lumMod val="60000"/>
                  <a:lumOff val="40000"/>
                </a:schemeClr>
              </a:buClr>
              <a:tabLst>
                <a:tab pos="5561013" algn="r"/>
              </a:tabLst>
              <a:defRPr>
                <a:solidFill>
                  <a:schemeClr val="bg1"/>
                </a:solidFill>
              </a:defRPr>
            </a:lvl4pPr>
            <a:lvl5pPr>
              <a:tabLst>
                <a:tab pos="5561013" algn="r"/>
              </a:tabLst>
              <a:defRPr>
                <a:solidFill>
                  <a:schemeClr val="bg1"/>
                </a:solidFill>
              </a:defRPr>
            </a:lvl5pPr>
            <a:lvl6pPr>
              <a:tabLst>
                <a:tab pos="5561013" algn="r"/>
              </a:tabLst>
              <a:defRPr>
                <a:solidFill>
                  <a:schemeClr val="accent2">
                    <a:lumMod val="60000"/>
                    <a:lumOff val="40000"/>
                  </a:schemeClr>
                </a:solidFill>
              </a:defRPr>
            </a:lvl6pPr>
            <a:lvl7pPr marL="442913" indent="-442913">
              <a:buClr>
                <a:schemeClr val="accent2">
                  <a:lumMod val="60000"/>
                  <a:lumOff val="40000"/>
                </a:schemeClr>
              </a:buClr>
              <a:tabLst>
                <a:tab pos="5561013" algn="r"/>
              </a:tabLst>
              <a:defRPr>
                <a:solidFill>
                  <a:schemeClr val="bg1"/>
                </a:solidFill>
              </a:defRPr>
            </a:lvl7pPr>
            <a:lvl8pPr marL="720725" indent="-268288">
              <a:buClr>
                <a:schemeClr val="accent2">
                  <a:lumMod val="60000"/>
                  <a:lumOff val="40000"/>
                </a:schemeClr>
              </a:buClr>
              <a:tabLst>
                <a:tab pos="5561013" algn="r"/>
              </a:tabLst>
              <a:defRPr>
                <a:solidFill>
                  <a:schemeClr val="bg1"/>
                </a:solidFill>
              </a:defRPr>
            </a:lvl8pPr>
            <a:lvl9pPr>
              <a:tabLst>
                <a:tab pos="5561013"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Tree>
    <p:extLst>
      <p:ext uri="{BB962C8B-B14F-4D97-AF65-F5344CB8AC3E}">
        <p14:creationId xmlns:p14="http://schemas.microsoft.com/office/powerpoint/2010/main" val="4206563471"/>
      </p:ext>
    </p:extLst>
  </p:cSld>
  <p:clrMapOvr>
    <a:masterClrMapping/>
  </p:clrMapOvr>
  <p:extLst>
    <p:ext uri="{DCECCB84-F9BA-43D5-87BE-67443E8EF086}">
      <p15:sldGuideLst xmlns:p15="http://schemas.microsoft.com/office/powerpoint/2012/main">
        <p15:guide id="8" orient="horz" pos="913">
          <p15:clr>
            <a:srgbClr val="FBAE40"/>
          </p15:clr>
        </p15:guide>
        <p15:guide id="9" pos="4203">
          <p15:clr>
            <a:srgbClr val="FBAE40"/>
          </p15:clr>
        </p15:guide>
        <p15:guide id="10" pos="642">
          <p15:clr>
            <a:srgbClr val="FBAE40"/>
          </p15:clr>
        </p15:guide>
        <p15:guide id="11" orient="horz" pos="3929">
          <p15:clr>
            <a:srgbClr val="FBAE40"/>
          </p15:clr>
        </p15:guide>
        <p15:guide id="12" pos="166">
          <p15:clr>
            <a:srgbClr val="FBAE40"/>
          </p15:clr>
        </p15:guide>
        <p15:guide id="13" orient="horz" pos="18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LL One colum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noProof="0"/>
              <a:t>Click to edit Master title style</a:t>
            </a:r>
            <a:endParaRPr lang="en-GB"/>
          </a:p>
        </p:txBody>
      </p:sp>
      <p:sp>
        <p:nvSpPr>
          <p:cNvPr id="7" name="Text Placeholder 6"/>
          <p:cNvSpPr>
            <a:spLocks noGrp="1"/>
          </p:cNvSpPr>
          <p:nvPr>
            <p:ph type="body" sz="quarter" idx="13" hasCustomPrompt="1"/>
          </p:nvPr>
        </p:nvSpPr>
        <p:spPr>
          <a:xfrm>
            <a:off x="982663" y="1124744"/>
            <a:ext cx="8208962" cy="2041585"/>
          </a:xfrm>
        </p:spPr>
        <p:txBody>
          <a:bodyPr>
            <a:spAutoFit/>
          </a:bodyPr>
          <a:lstStyle>
            <a:lvl5pPr>
              <a:defRPr baseline="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r>
              <a:rPr lang="en-GB" noProof="0"/>
              <a:t> - Paragraph header</a:t>
            </a:r>
            <a:endParaRPr lang="en-GB"/>
          </a:p>
          <a:p>
            <a:pPr lvl="5"/>
            <a:r>
              <a:rPr lang="en-GB"/>
              <a:t>Sixth level</a:t>
            </a:r>
            <a:r>
              <a:rPr lang="en-GB" noProof="0"/>
              <a:t> - Paragraph header</a:t>
            </a:r>
            <a:endParaRPr lang="en-GB"/>
          </a:p>
        </p:txBody>
      </p:sp>
    </p:spTree>
    <p:extLst>
      <p:ext uri="{BB962C8B-B14F-4D97-AF65-F5344CB8AC3E}">
        <p14:creationId xmlns:p14="http://schemas.microsoft.com/office/powerpoint/2010/main" val="25260793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Disclaim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a:t>Disclaimer</a:t>
            </a:r>
            <a:endParaRPr lang="en-GB"/>
          </a:p>
        </p:txBody>
      </p:sp>
    </p:spTree>
    <p:extLst>
      <p:ext uri="{BB962C8B-B14F-4D97-AF65-F5344CB8AC3E}">
        <p14:creationId xmlns:p14="http://schemas.microsoft.com/office/powerpoint/2010/main" val="1307778987"/>
      </p:ext>
    </p:extLst>
  </p:cSld>
  <p:clrMapOvr>
    <a:masterClrMapping/>
  </p:clrMapOvr>
  <p:extLst>
    <p:ext uri="{DCECCB84-F9BA-43D5-87BE-67443E8EF086}">
      <p15:sldGuideLst xmlns:p15="http://schemas.microsoft.com/office/powerpoint/2012/main">
        <p15:guide id="1" orient="horz" pos="187">
          <p15:clr>
            <a:srgbClr val="FBAE40"/>
          </p15:clr>
        </p15:guide>
        <p15:guide id="3" pos="166">
          <p15:clr>
            <a:srgbClr val="FBAE40"/>
          </p15:clr>
        </p15:guide>
        <p15:guide id="4" pos="461">
          <p15:clr>
            <a:srgbClr val="FBAE40"/>
          </p15:clr>
        </p15:guide>
        <p15:guide id="5" orient="horz" pos="61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right - image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Agenda title - large image </a:t>
            </a:r>
            <a:endParaRPr lang="en-GB" dirty="0"/>
          </a:p>
        </p:txBody>
      </p:sp>
      <p:sp>
        <p:nvSpPr>
          <p:cNvPr id="5" name="Picture Placeholder 4">
            <a:extLst>
              <a:ext uri="{FF2B5EF4-FFF2-40B4-BE49-F238E27FC236}">
                <a16:creationId xmlns:a16="http://schemas.microsoft.com/office/drawing/2014/main" id="{4C715B53-A5D9-31C6-1D02-85B3801FCA75}"/>
              </a:ext>
            </a:extLst>
          </p:cNvPr>
          <p:cNvSpPr>
            <a:spLocks noGrp="1"/>
          </p:cNvSpPr>
          <p:nvPr>
            <p:ph type="pic" sz="quarter" idx="13" hasCustomPrompt="1"/>
          </p:nvPr>
        </p:nvSpPr>
        <p:spPr>
          <a:xfrm>
            <a:off x="263524" y="765174"/>
            <a:ext cx="11664950" cy="5832475"/>
          </a:xfrm>
          <a:custGeom>
            <a:avLst/>
            <a:gdLst>
              <a:gd name="connsiteX0" fmla="*/ 0 w 11664950"/>
              <a:gd name="connsiteY0" fmla="*/ 0 h 5832475"/>
              <a:gd name="connsiteX1" fmla="*/ 11664950 w 11664950"/>
              <a:gd name="connsiteY1" fmla="*/ 0 h 5832475"/>
              <a:gd name="connsiteX2" fmla="*/ 11664950 w 11664950"/>
              <a:gd name="connsiteY2" fmla="*/ 5832475 h 5832475"/>
              <a:gd name="connsiteX3" fmla="*/ 0 w 11664950"/>
              <a:gd name="connsiteY3" fmla="*/ 5832475 h 5832475"/>
            </a:gdLst>
            <a:ahLst/>
            <a:cxnLst>
              <a:cxn ang="0">
                <a:pos x="connsiteX0" y="connsiteY0"/>
              </a:cxn>
              <a:cxn ang="0">
                <a:pos x="connsiteX1" y="connsiteY1"/>
              </a:cxn>
              <a:cxn ang="0">
                <a:pos x="connsiteX2" y="connsiteY2"/>
              </a:cxn>
              <a:cxn ang="0">
                <a:pos x="connsiteX3" y="connsiteY3"/>
              </a:cxn>
            </a:cxnLst>
            <a:rect l="l" t="t" r="r" b="b"/>
            <a:pathLst>
              <a:path w="11664950" h="5832475">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 name="Text Placeholder 4">
            <a:extLst>
              <a:ext uri="{FF2B5EF4-FFF2-40B4-BE49-F238E27FC236}">
                <a16:creationId xmlns:a16="http://schemas.microsoft.com/office/drawing/2014/main" id="{F581BC99-105C-694B-0340-CD1502CDA80B}"/>
              </a:ext>
            </a:extLst>
          </p:cNvPr>
          <p:cNvSpPr>
            <a:spLocks noGrp="1"/>
          </p:cNvSpPr>
          <p:nvPr>
            <p:ph type="body" sz="quarter" idx="10" hasCustomPrompt="1"/>
          </p:nvPr>
        </p:nvSpPr>
        <p:spPr>
          <a:xfrm>
            <a:off x="5527702" y="1452563"/>
            <a:ext cx="5645123" cy="2811026"/>
          </a:xfrm>
        </p:spPr>
        <p:txBody>
          <a:bodyPr/>
          <a:lstStyle>
            <a:lvl1pPr marL="442913" indent="-442913">
              <a:buFont typeface="+mj-lt"/>
              <a:buAutoNum type="arabicPeriod"/>
              <a:tabLst>
                <a:tab pos="5561013" algn="r"/>
              </a:tabLst>
              <a:defRPr>
                <a:solidFill>
                  <a:schemeClr val="bg1"/>
                </a:solidFill>
              </a:defRPr>
            </a:lvl1pPr>
            <a:lvl2pPr>
              <a:buClr>
                <a:schemeClr val="accent2">
                  <a:lumMod val="60000"/>
                  <a:lumOff val="40000"/>
                </a:schemeClr>
              </a:buClr>
              <a:tabLst>
                <a:tab pos="5561013" algn="r"/>
              </a:tabLst>
              <a:defRPr>
                <a:solidFill>
                  <a:schemeClr val="bg1"/>
                </a:solidFill>
              </a:defRPr>
            </a:lvl2pPr>
            <a:lvl3pPr>
              <a:buClr>
                <a:schemeClr val="accent2">
                  <a:lumMod val="60000"/>
                  <a:lumOff val="40000"/>
                </a:schemeClr>
              </a:buClr>
              <a:tabLst>
                <a:tab pos="5561013" algn="r"/>
              </a:tabLst>
              <a:defRPr>
                <a:solidFill>
                  <a:schemeClr val="bg1"/>
                </a:solidFill>
              </a:defRPr>
            </a:lvl3pPr>
            <a:lvl4pPr>
              <a:buClr>
                <a:schemeClr val="accent2">
                  <a:lumMod val="60000"/>
                  <a:lumOff val="40000"/>
                </a:schemeClr>
              </a:buClr>
              <a:tabLst>
                <a:tab pos="5561013" algn="r"/>
              </a:tabLst>
              <a:defRPr>
                <a:solidFill>
                  <a:schemeClr val="bg1"/>
                </a:solidFill>
              </a:defRPr>
            </a:lvl4pPr>
            <a:lvl5pPr>
              <a:tabLst>
                <a:tab pos="5561013" algn="r"/>
              </a:tabLst>
              <a:defRPr>
                <a:solidFill>
                  <a:schemeClr val="bg1"/>
                </a:solidFill>
              </a:defRPr>
            </a:lvl5pPr>
            <a:lvl6pPr>
              <a:tabLst>
                <a:tab pos="5561013" algn="r"/>
              </a:tabLst>
              <a:defRPr>
                <a:solidFill>
                  <a:schemeClr val="accent2">
                    <a:lumMod val="60000"/>
                    <a:lumOff val="40000"/>
                  </a:schemeClr>
                </a:solidFill>
              </a:defRPr>
            </a:lvl6pPr>
            <a:lvl7pPr marL="442913" indent="-442913">
              <a:buClr>
                <a:schemeClr val="accent2">
                  <a:lumMod val="60000"/>
                  <a:lumOff val="40000"/>
                </a:schemeClr>
              </a:buClr>
              <a:tabLst>
                <a:tab pos="5561013" algn="r"/>
              </a:tabLst>
              <a:defRPr>
                <a:solidFill>
                  <a:schemeClr val="bg1"/>
                </a:solidFill>
              </a:defRPr>
            </a:lvl7pPr>
            <a:lvl8pPr marL="720725" indent="-268288">
              <a:buClr>
                <a:schemeClr val="accent2">
                  <a:lumMod val="60000"/>
                  <a:lumOff val="40000"/>
                </a:schemeClr>
              </a:buClr>
              <a:tabLst>
                <a:tab pos="5561013" algn="r"/>
              </a:tabLst>
              <a:defRPr>
                <a:solidFill>
                  <a:schemeClr val="bg1"/>
                </a:solidFill>
              </a:defRPr>
            </a:lvl8pPr>
            <a:lvl9pPr>
              <a:tabLst>
                <a:tab pos="5561013"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Tree>
    <p:extLst>
      <p:ext uri="{BB962C8B-B14F-4D97-AF65-F5344CB8AC3E}">
        <p14:creationId xmlns:p14="http://schemas.microsoft.com/office/powerpoint/2010/main" val="336639205"/>
      </p:ext>
    </p:extLst>
  </p:cSld>
  <p:clrMapOvr>
    <a:masterClrMapping/>
  </p:clrMapOvr>
  <p:extLst>
    <p:ext uri="{DCECCB84-F9BA-43D5-87BE-67443E8EF086}">
      <p15:sldGuideLst xmlns:p15="http://schemas.microsoft.com/office/powerpoint/2012/main">
        <p15:guide id="9" orient="horz" pos="187">
          <p15:clr>
            <a:srgbClr val="FBAE40"/>
          </p15:clr>
        </p15:guide>
        <p15:guide id="10" pos="166">
          <p15:clr>
            <a:srgbClr val="FBAE40"/>
          </p15:clr>
        </p15:guide>
        <p15:guide id="11" pos="7038">
          <p15:clr>
            <a:srgbClr val="FBAE40"/>
          </p15:clr>
        </p15:guide>
        <p15:guide id="12" pos="3477">
          <p15:clr>
            <a:srgbClr val="FBAE40"/>
          </p15:clr>
        </p15:guide>
        <p15:guide id="13" orient="horz" pos="392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team">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C48321-2FA8-9AF6-DE58-91CC7E14F90C}"/>
              </a:ext>
            </a:extLst>
          </p:cNvPr>
          <p:cNvSpPr/>
          <p:nvPr/>
        </p:nvSpPr>
        <p:spPr>
          <a:xfrm>
            <a:off x="263525" y="765174"/>
            <a:ext cx="11664950" cy="5832475"/>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8" name="Graphic 3">
            <a:extLst>
              <a:ext uri="{FF2B5EF4-FFF2-40B4-BE49-F238E27FC236}">
                <a16:creationId xmlns:a16="http://schemas.microsoft.com/office/drawing/2014/main" id="{82173FB4-1259-C15F-51A4-1CC850AD084F}"/>
              </a:ext>
            </a:extLst>
          </p:cNvPr>
          <p:cNvSpPr/>
          <p:nvPr/>
        </p:nvSpPr>
        <p:spPr>
          <a:xfrm>
            <a:off x="8069275" y="765173"/>
            <a:ext cx="3859200" cy="5832000"/>
          </a:xfrm>
          <a:custGeom>
            <a:avLst/>
            <a:gdLst>
              <a:gd name="connsiteX0" fmla="*/ 137 w 3866836"/>
              <a:gd name="connsiteY0" fmla="*/ -75 h 5845303"/>
              <a:gd name="connsiteX1" fmla="*/ 137 w 3866836"/>
              <a:gd name="connsiteY1" fmla="*/ 555992 h 5845303"/>
              <a:gd name="connsiteX2" fmla="*/ 377912 w 3866836"/>
              <a:gd name="connsiteY2" fmla="*/ 933768 h 5845303"/>
              <a:gd name="connsiteX3" fmla="*/ 137 w 3866836"/>
              <a:gd name="connsiteY3" fmla="*/ 1311289 h 5845303"/>
              <a:gd name="connsiteX4" fmla="*/ 137 w 3866836"/>
              <a:gd name="connsiteY4" fmla="*/ 1311416 h 5845303"/>
              <a:gd name="connsiteX5" fmla="*/ 137 w 3866836"/>
              <a:gd name="connsiteY5" fmla="*/ 5845229 h 5845303"/>
              <a:gd name="connsiteX6" fmla="*/ 3866974 w 3866836"/>
              <a:gd name="connsiteY6" fmla="*/ 5845229 h 5845303"/>
              <a:gd name="connsiteX7" fmla="*/ 3866974 w 3866836"/>
              <a:gd name="connsiteY7" fmla="*/ -75 h 584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6836" h="5845303">
                <a:moveTo>
                  <a:pt x="137" y="-75"/>
                </a:moveTo>
                <a:lnTo>
                  <a:pt x="137" y="555992"/>
                </a:lnTo>
                <a:cubicBezTo>
                  <a:pt x="137" y="764638"/>
                  <a:pt x="169267" y="933768"/>
                  <a:pt x="377912" y="933768"/>
                </a:cubicBezTo>
                <a:cubicBezTo>
                  <a:pt x="169343" y="933692"/>
                  <a:pt x="213" y="1102720"/>
                  <a:pt x="137" y="1311289"/>
                </a:cubicBezTo>
                <a:cubicBezTo>
                  <a:pt x="137" y="1311327"/>
                  <a:pt x="137" y="1311378"/>
                  <a:pt x="137" y="1311416"/>
                </a:cubicBezTo>
                <a:lnTo>
                  <a:pt x="137" y="5845229"/>
                </a:lnTo>
                <a:lnTo>
                  <a:pt x="3866974" y="5845229"/>
                </a:lnTo>
                <a:lnTo>
                  <a:pt x="3866974" y="-75"/>
                </a:lnTo>
                <a:close/>
              </a:path>
            </a:pathLst>
          </a:custGeom>
          <a:solidFill>
            <a:schemeClr val="accent2">
              <a:alpha val="55000"/>
            </a:schemeClr>
          </a:solidFill>
          <a:ln w="12679" cap="flat">
            <a:noFill/>
            <a:prstDash val="solid"/>
            <a:miter/>
          </a:ln>
        </p:spPr>
        <p:txBody>
          <a:bodyPr rtlCol="0" anchor="ctr"/>
          <a:lstStyle/>
          <a:p>
            <a:endParaRPr lang="en-GB"/>
          </a:p>
        </p:txBody>
      </p:sp>
      <p:sp>
        <p:nvSpPr>
          <p:cNvPr id="32" name="CVTitleRight_6">
            <a:extLst>
              <a:ext uri="{FF2B5EF4-FFF2-40B4-BE49-F238E27FC236}">
                <a16:creationId xmlns:a16="http://schemas.microsoft.com/office/drawing/2014/main" id="{7804C379-4F0F-5711-EB90-9C26FA676892}"/>
              </a:ext>
            </a:extLst>
          </p:cNvPr>
          <p:cNvSpPr>
            <a:spLocks noGrp="1"/>
          </p:cNvSpPr>
          <p:nvPr>
            <p:ph type="body" sz="quarter" idx="46" hasCustomPrompt="1"/>
          </p:nvPr>
        </p:nvSpPr>
        <p:spPr>
          <a:xfrm>
            <a:off x="10128251" y="5309163"/>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33" name="CVNameRight_6">
            <a:extLst>
              <a:ext uri="{FF2B5EF4-FFF2-40B4-BE49-F238E27FC236}">
                <a16:creationId xmlns:a16="http://schemas.microsoft.com/office/drawing/2014/main" id="{BE3C1C4C-3ACD-D3A2-D4EE-F4BEB21B3D2A}"/>
              </a:ext>
            </a:extLst>
          </p:cNvPr>
          <p:cNvSpPr>
            <a:spLocks noGrp="1"/>
          </p:cNvSpPr>
          <p:nvPr>
            <p:ph type="body" sz="quarter" idx="47" hasCustomPrompt="1"/>
          </p:nvPr>
        </p:nvSpPr>
        <p:spPr>
          <a:xfrm>
            <a:off x="10124715" y="5156404"/>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34" name="CVPictureRight_6">
            <a:extLst>
              <a:ext uri="{FF2B5EF4-FFF2-40B4-BE49-F238E27FC236}">
                <a16:creationId xmlns:a16="http://schemas.microsoft.com/office/drawing/2014/main" id="{2BE804D4-D43B-C44A-1426-EDA848565696}"/>
              </a:ext>
            </a:extLst>
          </p:cNvPr>
          <p:cNvSpPr>
            <a:spLocks noGrp="1"/>
          </p:cNvSpPr>
          <p:nvPr>
            <p:ph type="pic" sz="quarter" idx="48" hasCustomPrompt="1"/>
          </p:nvPr>
        </p:nvSpPr>
        <p:spPr>
          <a:xfrm>
            <a:off x="10128250" y="4272841"/>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0" name="CVTitleRight_5">
            <a:extLst>
              <a:ext uri="{FF2B5EF4-FFF2-40B4-BE49-F238E27FC236}">
                <a16:creationId xmlns:a16="http://schemas.microsoft.com/office/drawing/2014/main" id="{2017A21A-00A4-378B-159E-BB37B3E353C8}"/>
              </a:ext>
            </a:extLst>
          </p:cNvPr>
          <p:cNvSpPr>
            <a:spLocks noGrp="1"/>
          </p:cNvSpPr>
          <p:nvPr>
            <p:ph type="body" sz="quarter" idx="37" hasCustomPrompt="1"/>
          </p:nvPr>
        </p:nvSpPr>
        <p:spPr>
          <a:xfrm>
            <a:off x="8688389" y="5309163"/>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21" name="CVNameRight_5">
            <a:extLst>
              <a:ext uri="{FF2B5EF4-FFF2-40B4-BE49-F238E27FC236}">
                <a16:creationId xmlns:a16="http://schemas.microsoft.com/office/drawing/2014/main" id="{490B0B0D-8D84-8DE8-2A15-DE82A62B03A0}"/>
              </a:ext>
            </a:extLst>
          </p:cNvPr>
          <p:cNvSpPr>
            <a:spLocks noGrp="1"/>
          </p:cNvSpPr>
          <p:nvPr>
            <p:ph type="body" sz="quarter" idx="38" hasCustomPrompt="1"/>
          </p:nvPr>
        </p:nvSpPr>
        <p:spPr>
          <a:xfrm>
            <a:off x="8684853" y="5156404"/>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22" name="CVPictureRight_5">
            <a:extLst>
              <a:ext uri="{FF2B5EF4-FFF2-40B4-BE49-F238E27FC236}">
                <a16:creationId xmlns:a16="http://schemas.microsoft.com/office/drawing/2014/main" id="{059BD4B4-D622-3197-E9EA-118BA0F8ECDB}"/>
              </a:ext>
            </a:extLst>
          </p:cNvPr>
          <p:cNvSpPr>
            <a:spLocks noGrp="1"/>
          </p:cNvSpPr>
          <p:nvPr>
            <p:ph type="pic" sz="quarter" idx="39" hasCustomPrompt="1"/>
          </p:nvPr>
        </p:nvSpPr>
        <p:spPr>
          <a:xfrm>
            <a:off x="8688388" y="4272841"/>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9" name="CVTitleRight_4">
            <a:extLst>
              <a:ext uri="{FF2B5EF4-FFF2-40B4-BE49-F238E27FC236}">
                <a16:creationId xmlns:a16="http://schemas.microsoft.com/office/drawing/2014/main" id="{FB4EC896-7788-49C9-E57A-03AD79392AB0}"/>
              </a:ext>
            </a:extLst>
          </p:cNvPr>
          <p:cNvSpPr>
            <a:spLocks noGrp="1"/>
          </p:cNvSpPr>
          <p:nvPr>
            <p:ph type="body" sz="quarter" idx="43" hasCustomPrompt="1"/>
          </p:nvPr>
        </p:nvSpPr>
        <p:spPr>
          <a:xfrm>
            <a:off x="10128251" y="3899024"/>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30" name="CVNameRight_4">
            <a:extLst>
              <a:ext uri="{FF2B5EF4-FFF2-40B4-BE49-F238E27FC236}">
                <a16:creationId xmlns:a16="http://schemas.microsoft.com/office/drawing/2014/main" id="{93F64767-D506-5D09-7DF5-17FFBB2ECB97}"/>
              </a:ext>
            </a:extLst>
          </p:cNvPr>
          <p:cNvSpPr>
            <a:spLocks noGrp="1"/>
          </p:cNvSpPr>
          <p:nvPr>
            <p:ph type="body" sz="quarter" idx="44" hasCustomPrompt="1"/>
          </p:nvPr>
        </p:nvSpPr>
        <p:spPr>
          <a:xfrm>
            <a:off x="10124715" y="3746265"/>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31" name="CVPictureRight_4">
            <a:extLst>
              <a:ext uri="{FF2B5EF4-FFF2-40B4-BE49-F238E27FC236}">
                <a16:creationId xmlns:a16="http://schemas.microsoft.com/office/drawing/2014/main" id="{562BCD55-1172-619D-A99C-9AA330F363C4}"/>
              </a:ext>
            </a:extLst>
          </p:cNvPr>
          <p:cNvSpPr>
            <a:spLocks noGrp="1"/>
          </p:cNvSpPr>
          <p:nvPr>
            <p:ph type="pic" sz="quarter" idx="45" hasCustomPrompt="1"/>
          </p:nvPr>
        </p:nvSpPr>
        <p:spPr>
          <a:xfrm>
            <a:off x="10128250" y="2862702"/>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14" name="CVTitleRight_3">
            <a:extLst>
              <a:ext uri="{FF2B5EF4-FFF2-40B4-BE49-F238E27FC236}">
                <a16:creationId xmlns:a16="http://schemas.microsoft.com/office/drawing/2014/main" id="{DCB01CE9-74EA-9592-8D2E-2797D3367307}"/>
              </a:ext>
            </a:extLst>
          </p:cNvPr>
          <p:cNvSpPr>
            <a:spLocks noGrp="1"/>
          </p:cNvSpPr>
          <p:nvPr>
            <p:ph type="body" sz="quarter" idx="31" hasCustomPrompt="1"/>
          </p:nvPr>
        </p:nvSpPr>
        <p:spPr>
          <a:xfrm>
            <a:off x="8688389" y="3899024"/>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15" name="CVNameRight_3">
            <a:extLst>
              <a:ext uri="{FF2B5EF4-FFF2-40B4-BE49-F238E27FC236}">
                <a16:creationId xmlns:a16="http://schemas.microsoft.com/office/drawing/2014/main" id="{0F1A3332-BAF3-0CD5-D6A1-CF1B1CBEB9E9}"/>
              </a:ext>
            </a:extLst>
          </p:cNvPr>
          <p:cNvSpPr>
            <a:spLocks noGrp="1"/>
          </p:cNvSpPr>
          <p:nvPr>
            <p:ph type="body" sz="quarter" idx="32" hasCustomPrompt="1"/>
          </p:nvPr>
        </p:nvSpPr>
        <p:spPr>
          <a:xfrm>
            <a:off x="8684853" y="3746265"/>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16" name="CVPictureRight_3">
            <a:extLst>
              <a:ext uri="{FF2B5EF4-FFF2-40B4-BE49-F238E27FC236}">
                <a16:creationId xmlns:a16="http://schemas.microsoft.com/office/drawing/2014/main" id="{2E98674B-F19D-F738-E802-6F9C12233152}"/>
              </a:ext>
            </a:extLst>
          </p:cNvPr>
          <p:cNvSpPr>
            <a:spLocks noGrp="1"/>
          </p:cNvSpPr>
          <p:nvPr>
            <p:ph type="pic" sz="quarter" idx="33" hasCustomPrompt="1"/>
          </p:nvPr>
        </p:nvSpPr>
        <p:spPr>
          <a:xfrm>
            <a:off x="8688388" y="2862702"/>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27" name="CVTitleRight_2">
            <a:extLst>
              <a:ext uri="{FF2B5EF4-FFF2-40B4-BE49-F238E27FC236}">
                <a16:creationId xmlns:a16="http://schemas.microsoft.com/office/drawing/2014/main" id="{D7A4F63E-F8ED-D17A-F2A0-A3B0C6F1E41C}"/>
              </a:ext>
            </a:extLst>
          </p:cNvPr>
          <p:cNvSpPr>
            <a:spLocks noGrp="1"/>
          </p:cNvSpPr>
          <p:nvPr>
            <p:ph type="body" sz="quarter" idx="41" hasCustomPrompt="1"/>
          </p:nvPr>
        </p:nvSpPr>
        <p:spPr>
          <a:xfrm>
            <a:off x="10124715" y="2336126"/>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26" name="CVNameRight_2">
            <a:extLst>
              <a:ext uri="{FF2B5EF4-FFF2-40B4-BE49-F238E27FC236}">
                <a16:creationId xmlns:a16="http://schemas.microsoft.com/office/drawing/2014/main" id="{71DB06B4-B6E6-5F19-7705-96A7674860DB}"/>
              </a:ext>
            </a:extLst>
          </p:cNvPr>
          <p:cNvSpPr>
            <a:spLocks noGrp="1"/>
          </p:cNvSpPr>
          <p:nvPr>
            <p:ph type="body" sz="quarter" idx="40" hasCustomPrompt="1"/>
          </p:nvPr>
        </p:nvSpPr>
        <p:spPr>
          <a:xfrm>
            <a:off x="10128251" y="2488885"/>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28" name="CVPictureRight_2">
            <a:extLst>
              <a:ext uri="{FF2B5EF4-FFF2-40B4-BE49-F238E27FC236}">
                <a16:creationId xmlns:a16="http://schemas.microsoft.com/office/drawing/2014/main" id="{E5BF4071-139F-F972-7CCB-8194CF50CCD1}"/>
              </a:ext>
            </a:extLst>
          </p:cNvPr>
          <p:cNvSpPr>
            <a:spLocks noGrp="1"/>
          </p:cNvSpPr>
          <p:nvPr>
            <p:ph type="pic" sz="quarter" idx="42" hasCustomPrompt="1"/>
          </p:nvPr>
        </p:nvSpPr>
        <p:spPr>
          <a:xfrm>
            <a:off x="10128250" y="1452563"/>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9" name="CVTitleRight_1">
            <a:extLst>
              <a:ext uri="{FF2B5EF4-FFF2-40B4-BE49-F238E27FC236}">
                <a16:creationId xmlns:a16="http://schemas.microsoft.com/office/drawing/2014/main" id="{C898F09C-89B0-9056-793E-06C7744EBE33}"/>
              </a:ext>
            </a:extLst>
          </p:cNvPr>
          <p:cNvSpPr>
            <a:spLocks noGrp="1"/>
          </p:cNvSpPr>
          <p:nvPr>
            <p:ph type="body" sz="quarter" idx="14" hasCustomPrompt="1"/>
          </p:nvPr>
        </p:nvSpPr>
        <p:spPr>
          <a:xfrm>
            <a:off x="8688389" y="2488885"/>
            <a:ext cx="1313920" cy="138499"/>
          </a:xfrm>
          <a:prstGeom prst="rect">
            <a:avLst/>
          </a:prstGeom>
        </p:spPr>
        <p:txBody>
          <a:bodyPr vert="horz" wrap="square" lIns="0" tIns="0" rIns="0" bIns="0">
            <a:spAutoFit/>
          </a:bodyPr>
          <a:lstStyle>
            <a:lvl1pPr marL="0" indent="0">
              <a:buNone/>
              <a:defRPr sz="900" b="0" baseline="0">
                <a:solidFill>
                  <a:schemeClr val="bg1"/>
                </a:solidFill>
                <a:latin typeface="Arial" pitchFamily="34" charset="0"/>
                <a:cs typeface="Arial" pitchFamily="34" charset="0"/>
              </a:defRPr>
            </a:lvl1pPr>
          </a:lstStyle>
          <a:p>
            <a:pPr lvl="0"/>
            <a:r>
              <a:rPr lang="en-GB" noProof="0" dirty="0"/>
              <a:t>Title (1 row max)</a:t>
            </a:r>
          </a:p>
        </p:txBody>
      </p:sp>
      <p:sp>
        <p:nvSpPr>
          <p:cNvPr id="10" name="CVNameRight_1">
            <a:extLst>
              <a:ext uri="{FF2B5EF4-FFF2-40B4-BE49-F238E27FC236}">
                <a16:creationId xmlns:a16="http://schemas.microsoft.com/office/drawing/2014/main" id="{A7FF3AA9-CF13-DB05-5E8D-51DBFD2CBAF3}"/>
              </a:ext>
            </a:extLst>
          </p:cNvPr>
          <p:cNvSpPr>
            <a:spLocks noGrp="1"/>
          </p:cNvSpPr>
          <p:nvPr>
            <p:ph type="body" sz="quarter" idx="27" hasCustomPrompt="1"/>
          </p:nvPr>
        </p:nvSpPr>
        <p:spPr>
          <a:xfrm>
            <a:off x="8684853" y="2336126"/>
            <a:ext cx="1317736" cy="138499"/>
          </a:xfrm>
          <a:prstGeom prst="rect">
            <a:avLst/>
          </a:prstGeom>
        </p:spPr>
        <p:txBody>
          <a:bodyPr vert="horz" wrap="square" lIns="0" tIns="0" rIns="0" bIns="0">
            <a:spAutoFit/>
          </a:bodyPr>
          <a:lstStyle>
            <a:lvl1pPr marL="0" indent="0">
              <a:buNone/>
              <a:defRPr sz="900" b="0" baseline="0">
                <a:solidFill>
                  <a:schemeClr val="bg1"/>
                </a:solidFill>
                <a:latin typeface="Arial Black" panose="020B0A04020102020204" pitchFamily="34" charset="0"/>
                <a:cs typeface="Arial" pitchFamily="34" charset="0"/>
              </a:defRPr>
            </a:lvl1pPr>
          </a:lstStyle>
          <a:p>
            <a:pPr lvl="0"/>
            <a:r>
              <a:rPr lang="en-GB" noProof="0" dirty="0"/>
              <a:t>Name</a:t>
            </a:r>
          </a:p>
        </p:txBody>
      </p:sp>
      <p:sp>
        <p:nvSpPr>
          <p:cNvPr id="11" name="CVPictureRight_1">
            <a:extLst>
              <a:ext uri="{FF2B5EF4-FFF2-40B4-BE49-F238E27FC236}">
                <a16:creationId xmlns:a16="http://schemas.microsoft.com/office/drawing/2014/main" id="{4615892E-80E5-0B4C-235A-9C12ECD318E6}"/>
              </a:ext>
            </a:extLst>
          </p:cNvPr>
          <p:cNvSpPr>
            <a:spLocks noGrp="1"/>
          </p:cNvSpPr>
          <p:nvPr>
            <p:ph type="pic" sz="quarter" idx="13" hasCustomPrompt="1"/>
          </p:nvPr>
        </p:nvSpPr>
        <p:spPr>
          <a:xfrm>
            <a:off x="8688388" y="1452563"/>
            <a:ext cx="889060" cy="840567"/>
          </a:xfrm>
          <a:custGeom>
            <a:avLst/>
            <a:gdLst>
              <a:gd name="connsiteX0" fmla="*/ 0 w 1980220"/>
              <a:gd name="connsiteY0" fmla="*/ 0 h 1872209"/>
              <a:gd name="connsiteX1" fmla="*/ 1980220 w 1980220"/>
              <a:gd name="connsiteY1" fmla="*/ 0 h 1872209"/>
              <a:gd name="connsiteX2" fmla="*/ 1980220 w 1980220"/>
              <a:gd name="connsiteY2" fmla="*/ 1872209 h 1872209"/>
              <a:gd name="connsiteX3" fmla="*/ 0 w 1980220"/>
              <a:gd name="connsiteY3" fmla="*/ 1872209 h 1872209"/>
            </a:gdLst>
            <a:ahLst/>
            <a:cxnLst>
              <a:cxn ang="0">
                <a:pos x="connsiteX0" y="connsiteY0"/>
              </a:cxn>
              <a:cxn ang="0">
                <a:pos x="connsiteX1" y="connsiteY1"/>
              </a:cxn>
              <a:cxn ang="0">
                <a:pos x="connsiteX2" y="connsiteY2"/>
              </a:cxn>
              <a:cxn ang="0">
                <a:pos x="connsiteX3" y="connsiteY3"/>
              </a:cxn>
            </a:cxnLst>
            <a:rect l="l" t="t" r="r" b="b"/>
            <a:pathLst>
              <a:path w="1980220" h="1872209">
                <a:moveTo>
                  <a:pt x="0" y="0"/>
                </a:moveTo>
                <a:lnTo>
                  <a:pt x="1980220" y="0"/>
                </a:lnTo>
                <a:lnTo>
                  <a:pt x="1980220" y="1872209"/>
                </a:lnTo>
                <a:lnTo>
                  <a:pt x="0" y="1872209"/>
                </a:lnTo>
                <a:close/>
              </a:path>
            </a:pathLst>
          </a:custGeom>
          <a:solidFill>
            <a:schemeClr val="bg1">
              <a:lumMod val="75000"/>
            </a:schemeClr>
          </a:solidFill>
        </p:spPr>
        <p:txBody>
          <a:bodyPr wrap="square" lIns="72000" tIns="72000" rIns="72000" bIns="0" anchor="t" anchorCtr="0">
            <a:noAutofit/>
          </a:bodyPr>
          <a:lstStyle>
            <a:lvl1pPr algn="ctr">
              <a:lnSpc>
                <a:spcPct val="90000"/>
              </a:lnSpc>
              <a:spcBef>
                <a:spcPts val="0"/>
              </a:spcBef>
              <a:defRPr sz="900" b="0" baseline="0">
                <a:solidFill>
                  <a:schemeClr val="bg1"/>
                </a:solidFill>
              </a:defRPr>
            </a:lvl1pPr>
          </a:lstStyle>
          <a:p>
            <a:br>
              <a:rPr lang="en-GB" dirty="0"/>
            </a:br>
            <a:r>
              <a:rPr lang="en-GB" dirty="0"/>
              <a:t>CV PHOTO</a:t>
            </a:r>
            <a:br>
              <a:rPr lang="en-GB" dirty="0"/>
            </a:br>
            <a:endParaRPr lang="en-GB" dirty="0"/>
          </a:p>
        </p:txBody>
      </p:sp>
      <p:sp>
        <p:nvSpPr>
          <p:cNvPr id="4" name="Text Placeholder 4">
            <a:extLst>
              <a:ext uri="{FF2B5EF4-FFF2-40B4-BE49-F238E27FC236}">
                <a16:creationId xmlns:a16="http://schemas.microsoft.com/office/drawing/2014/main" id="{96929135-4A90-00E9-BAD9-BAF268957D81}"/>
              </a:ext>
            </a:extLst>
          </p:cNvPr>
          <p:cNvSpPr>
            <a:spLocks noGrp="1"/>
          </p:cNvSpPr>
          <p:nvPr>
            <p:ph type="body" sz="quarter" idx="10" hasCustomPrompt="1"/>
          </p:nvPr>
        </p:nvSpPr>
        <p:spPr>
          <a:xfrm>
            <a:off x="1019436" y="1452563"/>
            <a:ext cx="5616624" cy="2811026"/>
          </a:xfrm>
        </p:spPr>
        <p:txBody>
          <a:bodyPr/>
          <a:lstStyle>
            <a:lvl1pPr marL="442913" indent="-442913">
              <a:buFont typeface="+mj-lt"/>
              <a:buAutoNum type="arabicPeriod"/>
              <a:tabLst>
                <a:tab pos="5561013" algn="r"/>
              </a:tabLst>
              <a:defRPr>
                <a:solidFill>
                  <a:schemeClr val="bg1"/>
                </a:solidFill>
              </a:defRPr>
            </a:lvl1pPr>
            <a:lvl2pPr>
              <a:buClr>
                <a:schemeClr val="accent2">
                  <a:lumMod val="60000"/>
                  <a:lumOff val="40000"/>
                </a:schemeClr>
              </a:buClr>
              <a:tabLst>
                <a:tab pos="5561013" algn="r"/>
              </a:tabLst>
              <a:defRPr>
                <a:solidFill>
                  <a:schemeClr val="bg1"/>
                </a:solidFill>
              </a:defRPr>
            </a:lvl2pPr>
            <a:lvl3pPr>
              <a:buClr>
                <a:schemeClr val="accent2">
                  <a:lumMod val="60000"/>
                  <a:lumOff val="40000"/>
                </a:schemeClr>
              </a:buClr>
              <a:tabLst>
                <a:tab pos="5561013" algn="r"/>
              </a:tabLst>
              <a:defRPr>
                <a:solidFill>
                  <a:schemeClr val="bg1"/>
                </a:solidFill>
              </a:defRPr>
            </a:lvl3pPr>
            <a:lvl4pPr>
              <a:buClr>
                <a:schemeClr val="accent2">
                  <a:lumMod val="60000"/>
                  <a:lumOff val="40000"/>
                </a:schemeClr>
              </a:buClr>
              <a:tabLst>
                <a:tab pos="5561013" algn="r"/>
              </a:tabLst>
              <a:defRPr>
                <a:solidFill>
                  <a:schemeClr val="bg1"/>
                </a:solidFill>
              </a:defRPr>
            </a:lvl4pPr>
            <a:lvl5pPr>
              <a:tabLst>
                <a:tab pos="5561013" algn="r"/>
              </a:tabLst>
              <a:defRPr>
                <a:solidFill>
                  <a:schemeClr val="bg1"/>
                </a:solidFill>
              </a:defRPr>
            </a:lvl5pPr>
            <a:lvl6pPr>
              <a:tabLst>
                <a:tab pos="5561013" algn="r"/>
              </a:tabLst>
              <a:defRPr>
                <a:solidFill>
                  <a:schemeClr val="accent2">
                    <a:lumMod val="60000"/>
                    <a:lumOff val="40000"/>
                  </a:schemeClr>
                </a:solidFill>
              </a:defRPr>
            </a:lvl6pPr>
            <a:lvl7pPr marL="442913" indent="-442913">
              <a:buClr>
                <a:schemeClr val="accent2">
                  <a:lumMod val="60000"/>
                  <a:lumOff val="40000"/>
                </a:schemeClr>
              </a:buClr>
              <a:tabLst>
                <a:tab pos="5561013" algn="r"/>
              </a:tabLst>
              <a:defRPr>
                <a:solidFill>
                  <a:schemeClr val="bg1"/>
                </a:solidFill>
              </a:defRPr>
            </a:lvl7pPr>
            <a:lvl8pPr marL="720725" indent="-268288">
              <a:buClr>
                <a:schemeClr val="accent2">
                  <a:lumMod val="60000"/>
                  <a:lumOff val="40000"/>
                </a:schemeClr>
              </a:buClr>
              <a:tabLst>
                <a:tab pos="5561013" algn="r"/>
              </a:tabLst>
              <a:defRPr>
                <a:solidFill>
                  <a:schemeClr val="bg1"/>
                </a:solidFill>
              </a:defRPr>
            </a:lvl8pPr>
            <a:lvl9pPr>
              <a:tabLst>
                <a:tab pos="5561013" algn="r"/>
              </a:tabLst>
              <a:defRPr>
                <a:solidFill>
                  <a:schemeClr val="bg1"/>
                </a:solidFill>
              </a:defRPr>
            </a:lvl9pPr>
          </a:lstStyle>
          <a:p>
            <a:pPr lvl="0"/>
            <a:r>
              <a:rPr lang="en-US" dirty="0"/>
              <a:t>Topic number one </a:t>
            </a:r>
            <a:r>
              <a:rPr lang="en-US" dirty="0" err="1"/>
              <a:t>etc</a:t>
            </a:r>
            <a:r>
              <a:rPr lang="en-US" dirty="0"/>
              <a:t> ...                                        2</a:t>
            </a:r>
          </a:p>
          <a:p>
            <a:pPr lvl="1"/>
            <a:r>
              <a:rPr lang="en-US" dirty="0"/>
              <a:t>Second level</a:t>
            </a:r>
          </a:p>
          <a:p>
            <a:pPr lvl="2"/>
            <a:r>
              <a:rPr lang="en-US" dirty="0"/>
              <a:t>Third level</a:t>
            </a:r>
          </a:p>
          <a:p>
            <a:pPr lvl="3"/>
            <a:r>
              <a:rPr lang="en-US" dirty="0"/>
              <a:t>Fourth level</a:t>
            </a:r>
          </a:p>
          <a:p>
            <a:pPr lvl="4"/>
            <a:r>
              <a:rPr lang="en-US" dirty="0"/>
              <a:t>Fifth level</a:t>
            </a:r>
          </a:p>
          <a:p>
            <a:pPr lvl="5"/>
            <a:r>
              <a:rPr lang="en-GB" noProof="0" dirty="0"/>
              <a:t>Sixth level - Paragraph header</a:t>
            </a:r>
          </a:p>
          <a:p>
            <a:pPr lvl="6"/>
            <a:r>
              <a:rPr lang="en-GB" noProof="0" dirty="0"/>
              <a:t>Seventh level</a:t>
            </a:r>
          </a:p>
          <a:p>
            <a:pPr lvl="7"/>
            <a:r>
              <a:rPr lang="en-GB" noProof="0" dirty="0"/>
              <a:t>Eighth level</a:t>
            </a:r>
          </a:p>
          <a:p>
            <a:pPr lvl="8"/>
            <a:r>
              <a:rPr lang="en-GB" noProof="0" dirty="0"/>
              <a:t>Nineth level</a:t>
            </a:r>
          </a:p>
        </p:txBody>
      </p:sp>
      <p:sp>
        <p:nvSpPr>
          <p:cNvPr id="2" name="Titel 1"/>
          <p:cNvSpPr>
            <a:spLocks noGrp="1"/>
          </p:cNvSpPr>
          <p:nvPr>
            <p:ph type="title" hasCustomPrompt="1"/>
          </p:nvPr>
        </p:nvSpPr>
        <p:spPr/>
        <p:txBody>
          <a:bodyPr/>
          <a:lstStyle>
            <a:lvl1pPr>
              <a:defRPr/>
            </a:lvl1pPr>
          </a:lstStyle>
          <a:p>
            <a:r>
              <a:rPr lang="en-US" noProof="0" dirty="0"/>
              <a:t>Agenda with contact details – place title here</a:t>
            </a:r>
            <a:endParaRPr lang="en-GB" dirty="0"/>
          </a:p>
        </p:txBody>
      </p:sp>
    </p:spTree>
    <p:extLst>
      <p:ext uri="{BB962C8B-B14F-4D97-AF65-F5344CB8AC3E}">
        <p14:creationId xmlns:p14="http://schemas.microsoft.com/office/powerpoint/2010/main" val="4287863271"/>
      </p:ext>
    </p:extLst>
  </p:cSld>
  <p:clrMapOvr>
    <a:masterClrMapping/>
  </p:clrMapOvr>
  <p:extLst>
    <p:ext uri="{DCECCB84-F9BA-43D5-87BE-67443E8EF086}">
      <p15:sldGuideLst xmlns:p15="http://schemas.microsoft.com/office/powerpoint/2012/main">
        <p15:guide id="10" orient="horz" pos="187">
          <p15:clr>
            <a:srgbClr val="FBAE40"/>
          </p15:clr>
        </p15:guide>
        <p15:guide id="11" pos="4180">
          <p15:clr>
            <a:srgbClr val="FBAE40"/>
          </p15:clr>
        </p15:guide>
        <p15:guide id="12" orient="horz" pos="3929">
          <p15:clr>
            <a:srgbClr val="FBAE40"/>
          </p15:clr>
        </p15:guide>
        <p15:guide id="13" orient="horz" pos="913">
          <p15:clr>
            <a:srgbClr val="FBAE40"/>
          </p15:clr>
        </p15:guide>
        <p15:guide id="14" pos="642">
          <p15:clr>
            <a:srgbClr val="FBAE40"/>
          </p15:clr>
        </p15:guide>
        <p15:guide id="15" pos="166">
          <p15:clr>
            <a:srgbClr val="FBAE40"/>
          </p15:clr>
        </p15:guide>
        <p15:guide id="16" pos="5473">
          <p15:clr>
            <a:srgbClr val="FBAE40"/>
          </p15:clr>
        </p15:guide>
        <p15:guide id="17" pos="63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without image">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37FF5685-EBD7-33AC-4D51-BC0D494F7BF0}"/>
              </a:ext>
            </a:extLst>
          </p:cNvPr>
          <p:cNvSpPr/>
          <p:nvPr/>
        </p:nvSpPr>
        <p:spPr>
          <a:xfrm>
            <a:off x="263525" y="765174"/>
            <a:ext cx="11664950" cy="5832475"/>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33" name="Text Placeholder 32"/>
          <p:cNvSpPr>
            <a:spLocks noGrp="1"/>
          </p:cNvSpPr>
          <p:nvPr>
            <p:ph type="body" sz="quarter" idx="14" hasCustomPrompt="1"/>
          </p:nvPr>
        </p:nvSpPr>
        <p:spPr>
          <a:xfrm>
            <a:off x="1019175" y="4797425"/>
            <a:ext cx="1295785" cy="387798"/>
          </a:xfrm>
          <a:prstGeom prst="rect">
            <a:avLst/>
          </a:prstGeom>
        </p:spPr>
        <p:txBody>
          <a:bodyPr anchor="b"/>
          <a:lstStyle>
            <a:lvl1pPr>
              <a:lnSpc>
                <a:spcPct val="90000"/>
              </a:lnSpc>
              <a:spcBef>
                <a:spcPts val="0"/>
              </a:spcBef>
              <a:defRPr sz="2800" b="1">
                <a:solidFill>
                  <a:schemeClr val="bg1"/>
                </a:solidFill>
                <a:latin typeface="Arial Black" panose="020B0A04020102020204" pitchFamily="34" charset="0"/>
              </a:defRPr>
            </a:lvl1pPr>
          </a:lstStyle>
          <a:p>
            <a:pPr lvl="0"/>
            <a:r>
              <a:rPr lang="en-GB" dirty="0"/>
              <a:t>1.</a:t>
            </a:r>
          </a:p>
        </p:txBody>
      </p:sp>
      <p:sp>
        <p:nvSpPr>
          <p:cNvPr id="2" name="Titel 1"/>
          <p:cNvSpPr>
            <a:spLocks noGrp="1"/>
          </p:cNvSpPr>
          <p:nvPr>
            <p:ph type="ctrTitle" hasCustomPrompt="1"/>
          </p:nvPr>
        </p:nvSpPr>
        <p:spPr>
          <a:xfrm>
            <a:off x="1019175" y="5265738"/>
            <a:ext cx="7963909" cy="405974"/>
          </a:xfrm>
        </p:spPr>
        <p:txBody>
          <a:bodyPr wrap="square" tIns="18000" anchor="t" anchorCtr="0">
            <a:spAutoFit/>
          </a:bodyPr>
          <a:lstStyle>
            <a:lvl1pPr algn="l">
              <a:lnSpc>
                <a:spcPct val="90000"/>
              </a:lnSpc>
              <a:defRPr sz="2800">
                <a:solidFill>
                  <a:schemeClr val="bg1"/>
                </a:solidFill>
                <a:latin typeface="+mn-lt"/>
              </a:defRPr>
            </a:lvl1pPr>
          </a:lstStyle>
          <a:p>
            <a:r>
              <a:rPr lang="en-GB" noProof="0" dirty="0" err="1"/>
              <a:t>Chapterslide</a:t>
            </a:r>
            <a:r>
              <a:rPr lang="en-GB" noProof="0" dirty="0"/>
              <a:t> with image, place title here</a:t>
            </a:r>
            <a:endParaRPr lang="en-GB" dirty="0"/>
          </a:p>
        </p:txBody>
      </p:sp>
    </p:spTree>
    <p:extLst>
      <p:ext uri="{BB962C8B-B14F-4D97-AF65-F5344CB8AC3E}">
        <p14:creationId xmlns:p14="http://schemas.microsoft.com/office/powerpoint/2010/main" val="2297093122"/>
      </p:ext>
    </p:extLst>
  </p:cSld>
  <p:clrMapOvr>
    <a:masterClrMapping/>
  </p:clrMapOvr>
  <p:extLst>
    <p:ext uri="{DCECCB84-F9BA-43D5-87BE-67443E8EF086}">
      <p15:sldGuideLst xmlns:p15="http://schemas.microsoft.com/office/powerpoint/2012/main">
        <p15:guide id="1" orient="horz" pos="3022">
          <p15:clr>
            <a:srgbClr val="FBAE40"/>
          </p15:clr>
        </p15:guide>
        <p15:guide id="2" orient="horz" pos="3317">
          <p15:clr>
            <a:srgbClr val="FBAE40"/>
          </p15:clr>
        </p15:guide>
        <p15:guide id="3" pos="6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with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98606D9-1CD6-528F-0372-384F21957323}"/>
              </a:ext>
            </a:extLst>
          </p:cNvPr>
          <p:cNvSpPr>
            <a:spLocks noGrp="1"/>
          </p:cNvSpPr>
          <p:nvPr>
            <p:ph type="pic" sz="quarter" idx="13" hasCustomPrompt="1"/>
          </p:nvPr>
        </p:nvSpPr>
        <p:spPr>
          <a:xfrm>
            <a:off x="263524" y="765174"/>
            <a:ext cx="11664950" cy="5832475"/>
          </a:xfrm>
          <a:custGeom>
            <a:avLst/>
            <a:gdLst>
              <a:gd name="connsiteX0" fmla="*/ 744476 w 11664950"/>
              <a:gd name="connsiteY0" fmla="*/ 3829741 h 5832475"/>
              <a:gd name="connsiteX1" fmla="*/ 744476 w 11664950"/>
              <a:gd name="connsiteY1" fmla="*/ 5125741 h 5832475"/>
              <a:gd name="connsiteX2" fmla="*/ 7416652 w 11664950"/>
              <a:gd name="connsiteY2" fmla="*/ 5125741 h 5832475"/>
              <a:gd name="connsiteX3" fmla="*/ 7416652 w 11664950"/>
              <a:gd name="connsiteY3" fmla="*/ 3829741 h 5832475"/>
              <a:gd name="connsiteX4" fmla="*/ 0 w 11664950"/>
              <a:gd name="connsiteY4" fmla="*/ 0 h 5832475"/>
              <a:gd name="connsiteX5" fmla="*/ 11664950 w 11664950"/>
              <a:gd name="connsiteY5" fmla="*/ 0 h 5832475"/>
              <a:gd name="connsiteX6" fmla="*/ 11664950 w 11664950"/>
              <a:gd name="connsiteY6" fmla="*/ 5832475 h 5832475"/>
              <a:gd name="connsiteX7" fmla="*/ 0 w 11664950"/>
              <a:gd name="connsiteY7" fmla="*/ 5832475 h 58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4950" h="5832475">
                <a:moveTo>
                  <a:pt x="744476" y="3829741"/>
                </a:moveTo>
                <a:lnTo>
                  <a:pt x="744476" y="5125741"/>
                </a:lnTo>
                <a:lnTo>
                  <a:pt x="7416652" y="5125741"/>
                </a:lnTo>
                <a:lnTo>
                  <a:pt x="7416652" y="3829741"/>
                </a:lnTo>
                <a:close/>
                <a:moveTo>
                  <a:pt x="0" y="0"/>
                </a:moveTo>
                <a:lnTo>
                  <a:pt x="11664950" y="0"/>
                </a:lnTo>
                <a:lnTo>
                  <a:pt x="11664950" y="5832475"/>
                </a:lnTo>
                <a:lnTo>
                  <a:pt x="0" y="5832475"/>
                </a:lnTo>
                <a:close/>
              </a:path>
            </a:pathLst>
          </a:custGeom>
          <a:solidFill>
            <a:schemeClr val="bg1">
              <a:lumMod val="75000"/>
            </a:schemeClr>
          </a:solidFill>
        </p:spPr>
        <p:txBody>
          <a:bodyPr wrap="square" lIns="3168000" tIns="0" rIns="3168000" bIns="1368000" anchor="ctr" anchorCtr="0">
            <a:noAutofit/>
          </a:bodyPr>
          <a:lstStyle>
            <a:lvl1pPr algn="ctr">
              <a:defRPr sz="1400" b="0" baseline="0">
                <a:solidFill>
                  <a:schemeClr val="bg1"/>
                </a:solidFill>
              </a:defRPr>
            </a:lvl1pPr>
          </a:lstStyle>
          <a:p>
            <a:r>
              <a:rPr lang="en-GB" dirty="0"/>
              <a:t>Click ‘Insert picture’-button and select picture from SharePoint, or choose a ready-to-go slide from the library</a:t>
            </a:r>
          </a:p>
        </p:txBody>
      </p:sp>
      <p:sp>
        <p:nvSpPr>
          <p:cNvPr id="33" name="Text Placeholder 32"/>
          <p:cNvSpPr>
            <a:spLocks noGrp="1"/>
          </p:cNvSpPr>
          <p:nvPr>
            <p:ph type="body" sz="quarter" idx="14" hasCustomPrompt="1"/>
          </p:nvPr>
        </p:nvSpPr>
        <p:spPr>
          <a:xfrm>
            <a:off x="1343473" y="4868863"/>
            <a:ext cx="684076" cy="387798"/>
          </a:xfrm>
          <a:prstGeom prst="rect">
            <a:avLst/>
          </a:prstGeom>
        </p:spPr>
        <p:txBody>
          <a:bodyPr anchor="b"/>
          <a:lstStyle>
            <a:lvl1pPr>
              <a:lnSpc>
                <a:spcPct val="90000"/>
              </a:lnSpc>
              <a:spcBef>
                <a:spcPts val="0"/>
              </a:spcBef>
              <a:defRPr sz="2800" b="1">
                <a:solidFill>
                  <a:schemeClr val="accent2"/>
                </a:solidFill>
                <a:latin typeface="Arial Black" panose="020B0A04020102020204" pitchFamily="34" charset="0"/>
              </a:defRPr>
            </a:lvl1pPr>
          </a:lstStyle>
          <a:p>
            <a:pPr lvl="0"/>
            <a:r>
              <a:rPr lang="en-GB" dirty="0"/>
              <a:t>1.</a:t>
            </a:r>
          </a:p>
        </p:txBody>
      </p:sp>
      <p:sp>
        <p:nvSpPr>
          <p:cNvPr id="2" name="Titel 1"/>
          <p:cNvSpPr>
            <a:spLocks noGrp="1"/>
          </p:cNvSpPr>
          <p:nvPr>
            <p:ph type="ctrTitle" hasCustomPrompt="1"/>
          </p:nvPr>
        </p:nvSpPr>
        <p:spPr>
          <a:xfrm>
            <a:off x="2063553" y="4868863"/>
            <a:ext cx="5256584" cy="775597"/>
          </a:xfrm>
        </p:spPr>
        <p:txBody>
          <a:bodyPr wrap="square" anchor="t" anchorCtr="0">
            <a:spAutoFit/>
          </a:bodyPr>
          <a:lstStyle>
            <a:lvl1pPr algn="l">
              <a:lnSpc>
                <a:spcPct val="90000"/>
              </a:lnSpc>
              <a:defRPr sz="2800">
                <a:solidFill>
                  <a:schemeClr val="bg2"/>
                </a:solidFill>
                <a:latin typeface="+mn-lt"/>
              </a:defRPr>
            </a:lvl1pPr>
          </a:lstStyle>
          <a:p>
            <a:r>
              <a:rPr lang="en-GB" noProof="0" dirty="0" err="1"/>
              <a:t>Chapterslide</a:t>
            </a:r>
            <a:r>
              <a:rPr lang="en-GB" noProof="0" dirty="0"/>
              <a:t> with image, place title here</a:t>
            </a:r>
            <a:endParaRPr lang="en-GB" dirty="0"/>
          </a:p>
        </p:txBody>
      </p:sp>
    </p:spTree>
    <p:extLst>
      <p:ext uri="{BB962C8B-B14F-4D97-AF65-F5344CB8AC3E}">
        <p14:creationId xmlns:p14="http://schemas.microsoft.com/office/powerpoint/2010/main" val="2585686415"/>
      </p:ext>
    </p:extLst>
  </p:cSld>
  <p:clrMapOvr>
    <a:masterClrMapping/>
  </p:clrMapOvr>
  <p:extLst>
    <p:ext uri="{DCECCB84-F9BA-43D5-87BE-67443E8EF086}">
      <p15:sldGuideLst xmlns:p15="http://schemas.microsoft.com/office/powerpoint/2012/main">
        <p15:guide id="1" pos="846">
          <p15:clr>
            <a:srgbClr val="FBAE40"/>
          </p15:clr>
        </p15:guide>
        <p15:guide id="2" orient="horz" pos="306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265732" y="299033"/>
            <a:ext cx="9646691" cy="287771"/>
          </a:xfrm>
          <a:prstGeom prst="rect">
            <a:avLst/>
          </a:prstGeom>
        </p:spPr>
        <p:txBody>
          <a:bodyPr vert="horz" wrap="square" lIns="0" tIns="0" rIns="0" bIns="0" rtlCol="0" anchor="t" anchorCtr="0">
            <a:spAutoFit/>
          </a:bodyPr>
          <a:lstStyle/>
          <a:p>
            <a:r>
              <a:rPr lang="en-US" noProof="0"/>
              <a:t>Click to edit Master title style</a:t>
            </a:r>
            <a:endParaRPr lang="en-GB" noProof="0" dirty="0"/>
          </a:p>
        </p:txBody>
      </p:sp>
      <p:sp>
        <p:nvSpPr>
          <p:cNvPr id="3" name="Tijdelijke aanduiding voor tekst 2"/>
          <p:cNvSpPr>
            <a:spLocks noGrp="1"/>
          </p:cNvSpPr>
          <p:nvPr>
            <p:ph type="body" idx="1"/>
          </p:nvPr>
        </p:nvSpPr>
        <p:spPr>
          <a:xfrm>
            <a:off x="731838" y="981075"/>
            <a:ext cx="8243887" cy="2841804"/>
          </a:xfrm>
          <a:prstGeom prst="rect">
            <a:avLst/>
          </a:prstGeom>
        </p:spPr>
        <p:txBody>
          <a:bodyPr vert="horz" wrap="square" lIns="0" tIns="0" rIns="0" bIns="0" rtlCol="0">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Footer Placeholder 4"/>
          <p:cNvSpPr>
            <a:spLocks noGrp="1"/>
          </p:cNvSpPr>
          <p:nvPr>
            <p:ph type="ftr" sz="quarter" idx="3"/>
          </p:nvPr>
        </p:nvSpPr>
        <p:spPr>
          <a:xfrm>
            <a:off x="266700" y="6942806"/>
            <a:ext cx="3860800" cy="138499"/>
          </a:xfrm>
          <a:prstGeom prst="rect">
            <a:avLst/>
          </a:prstGeom>
        </p:spPr>
        <p:txBody>
          <a:bodyPr vert="horz" lIns="0" tIns="0" rIns="0" bIns="0" rtlCol="0" anchor="t" anchorCtr="0">
            <a:spAutoFit/>
          </a:bodyPr>
          <a:lstStyle>
            <a:lvl1pPr algn="l">
              <a:defRPr sz="900">
                <a:solidFill>
                  <a:schemeClr val="tx2">
                    <a:lumMod val="40000"/>
                    <a:lumOff val="60000"/>
                  </a:schemeClr>
                </a:solidFill>
              </a:defRPr>
            </a:lvl1pPr>
          </a:lstStyle>
          <a:p>
            <a:r>
              <a:rPr lang="en-GB"/>
              <a:t>53058040</a:t>
            </a:r>
            <a:endParaRPr lang="en-GB" dirty="0"/>
          </a:p>
        </p:txBody>
      </p:sp>
      <p:sp>
        <p:nvSpPr>
          <p:cNvPr id="39" name="Tijdelijke aanduiding voor dianummer 5"/>
          <p:cNvSpPr txBox="1">
            <a:spLocks/>
          </p:cNvSpPr>
          <p:nvPr/>
        </p:nvSpPr>
        <p:spPr>
          <a:xfrm>
            <a:off x="11495074" y="6664295"/>
            <a:ext cx="431814" cy="110800"/>
          </a:xfrm>
          <a:prstGeom prst="rect">
            <a:avLst/>
          </a:prstGeom>
        </p:spPr>
        <p:txBody>
          <a:bodyPr vert="horz" wrap="square" lIns="0" tIns="0" rIns="0" bIns="0" rtlCol="0" anchor="t" anchorCtr="0">
            <a:spAutoFit/>
          </a:bodyPr>
          <a:lstStyle>
            <a:defPPr>
              <a:defRPr lang="nl-NL"/>
            </a:defPPr>
            <a:lvl1pPr marL="0" algn="r" defTabSz="914400" rtl="0" eaLnBrk="1" latinLnBrk="0" hangingPunct="1">
              <a:lnSpc>
                <a:spcPct val="90000"/>
              </a:lnSpc>
              <a:defRPr sz="10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D39FBE-7E65-4D18-A44A-8465C1652DD6}" type="slidenum">
              <a:rPr lang="en-GB" sz="800" smtClean="0">
                <a:solidFill>
                  <a:schemeClr val="tx2">
                    <a:lumMod val="40000"/>
                    <a:lumOff val="60000"/>
                  </a:schemeClr>
                </a:solidFill>
              </a:rPr>
              <a:pPr/>
              <a:t>‹#›</a:t>
            </a:fld>
            <a:endParaRPr lang="en-GB" sz="800" dirty="0">
              <a:solidFill>
                <a:schemeClr val="tx2">
                  <a:lumMod val="40000"/>
                  <a:lumOff val="60000"/>
                </a:schemeClr>
              </a:solidFill>
            </a:endParaRPr>
          </a:p>
        </p:txBody>
      </p:sp>
      <p:cxnSp>
        <p:nvCxnSpPr>
          <p:cNvPr id="101" name="Straight Connector 100">
            <a:extLst>
              <a:ext uri="{FF2B5EF4-FFF2-40B4-BE49-F238E27FC236}">
                <a16:creationId xmlns:a16="http://schemas.microsoft.com/office/drawing/2014/main" id="{DCCB8C28-2626-1EB0-CDDD-D432C8352AA2}"/>
              </a:ext>
            </a:extLst>
          </p:cNvPr>
          <p:cNvCxnSpPr>
            <a:cxnSpLocks/>
          </p:cNvCxnSpPr>
          <p:nvPr userDrawn="1"/>
        </p:nvCxnSpPr>
        <p:spPr>
          <a:xfrm flipH="1">
            <a:off x="266700" y="683460"/>
            <a:ext cx="1166194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8" name="Small L&amp;L Logo">
            <a:extLst>
              <a:ext uri="{FF2B5EF4-FFF2-40B4-BE49-F238E27FC236}">
                <a16:creationId xmlns:a16="http://schemas.microsoft.com/office/drawing/2014/main" id="{15F84421-FC9A-AF0C-5380-72E690B8EB22}"/>
              </a:ext>
            </a:extLst>
          </p:cNvPr>
          <p:cNvGrpSpPr/>
          <p:nvPr/>
        </p:nvGrpSpPr>
        <p:grpSpPr>
          <a:xfrm>
            <a:off x="10410733" y="304161"/>
            <a:ext cx="1518020" cy="240402"/>
            <a:chOff x="756000" y="277699"/>
            <a:chExt cx="2003339" cy="317260"/>
          </a:xfrm>
          <a:solidFill>
            <a:srgbClr val="06357A"/>
          </a:solidFill>
        </p:grpSpPr>
        <p:sp>
          <p:nvSpPr>
            <p:cNvPr id="19" name="Freeform: Shape 18">
              <a:extLst>
                <a:ext uri="{FF2B5EF4-FFF2-40B4-BE49-F238E27FC236}">
                  <a16:creationId xmlns:a16="http://schemas.microsoft.com/office/drawing/2014/main" id="{17CCCF84-0CEC-EACD-0010-1A6371CE5E8C}"/>
                </a:ext>
              </a:extLst>
            </p:cNvPr>
            <p:cNvSpPr/>
            <p:nvPr/>
          </p:nvSpPr>
          <p:spPr>
            <a:xfrm>
              <a:off x="1749419" y="277699"/>
              <a:ext cx="204419" cy="317260"/>
            </a:xfrm>
            <a:custGeom>
              <a:avLst/>
              <a:gdLst>
                <a:gd name="connsiteX0" fmla="*/ 182820 w 204419"/>
                <a:gd name="connsiteY0" fmla="*/ 300101 h 317260"/>
                <a:gd name="connsiteX1" fmla="*/ 69060 w 204419"/>
                <a:gd name="connsiteY1" fmla="*/ 300101 h 317260"/>
                <a:gd name="connsiteX2" fmla="*/ 69300 w 204419"/>
                <a:gd name="connsiteY2" fmla="*/ 297761 h 317260"/>
                <a:gd name="connsiteX3" fmla="*/ 85740 w 204419"/>
                <a:gd name="connsiteY3" fmla="*/ 195461 h 317260"/>
                <a:gd name="connsiteX4" fmla="*/ 102840 w 204419"/>
                <a:gd name="connsiteY4" fmla="*/ 176141 h 317260"/>
                <a:gd name="connsiteX5" fmla="*/ 85560 w 204419"/>
                <a:gd name="connsiteY5" fmla="*/ 285401 h 317260"/>
                <a:gd name="connsiteX6" fmla="*/ 85440 w 204419"/>
                <a:gd name="connsiteY6" fmla="*/ 286541 h 317260"/>
                <a:gd name="connsiteX7" fmla="*/ 93960 w 204419"/>
                <a:gd name="connsiteY7" fmla="*/ 286541 h 317260"/>
                <a:gd name="connsiteX8" fmla="*/ 93960 w 204419"/>
                <a:gd name="connsiteY8" fmla="*/ 286721 h 317260"/>
                <a:gd name="connsiteX9" fmla="*/ 184620 w 204419"/>
                <a:gd name="connsiteY9" fmla="*/ 286721 h 317260"/>
                <a:gd name="connsiteX10" fmla="*/ 182820 w 204419"/>
                <a:gd name="connsiteY10" fmla="*/ 300101 h 317260"/>
                <a:gd name="connsiteX11" fmla="*/ 136920 w 204419"/>
                <a:gd name="connsiteY11" fmla="*/ 66101 h 317260"/>
                <a:gd name="connsiteX12" fmla="*/ 138060 w 204419"/>
                <a:gd name="connsiteY12" fmla="*/ 61601 h 317260"/>
                <a:gd name="connsiteX13" fmla="*/ 172980 w 204419"/>
                <a:gd name="connsiteY13" fmla="*/ 5501 h 317260"/>
                <a:gd name="connsiteX14" fmla="*/ 190140 w 204419"/>
                <a:gd name="connsiteY14" fmla="*/ 12581 h 317260"/>
                <a:gd name="connsiteX15" fmla="*/ 129360 w 204419"/>
                <a:gd name="connsiteY15" fmla="*/ 135101 h 317260"/>
                <a:gd name="connsiteX16" fmla="*/ 124920 w 204419"/>
                <a:gd name="connsiteY16" fmla="*/ 139421 h 317260"/>
                <a:gd name="connsiteX17" fmla="*/ 136920 w 204419"/>
                <a:gd name="connsiteY17" fmla="*/ 66101 h 317260"/>
                <a:gd name="connsiteX18" fmla="*/ 104880 w 204419"/>
                <a:gd name="connsiteY18" fmla="*/ 269501 h 317260"/>
                <a:gd name="connsiteX19" fmla="*/ 123420 w 204419"/>
                <a:gd name="connsiteY19" fmla="*/ 152861 h 317260"/>
                <a:gd name="connsiteX20" fmla="*/ 130020 w 204419"/>
                <a:gd name="connsiteY20" fmla="*/ 145061 h 317260"/>
                <a:gd name="connsiteX21" fmla="*/ 193860 w 204419"/>
                <a:gd name="connsiteY21" fmla="*/ 11201 h 317260"/>
                <a:gd name="connsiteX22" fmla="*/ 171000 w 204419"/>
                <a:gd name="connsiteY22" fmla="*/ 2141 h 317260"/>
                <a:gd name="connsiteX23" fmla="*/ 130800 w 204419"/>
                <a:gd name="connsiteY23" fmla="*/ 51461 h 317260"/>
                <a:gd name="connsiteX24" fmla="*/ 127620 w 204419"/>
                <a:gd name="connsiteY24" fmla="*/ 59141 h 317260"/>
                <a:gd name="connsiteX25" fmla="*/ 106860 w 204419"/>
                <a:gd name="connsiteY25" fmla="*/ 150341 h 317260"/>
                <a:gd name="connsiteX26" fmla="*/ 105900 w 204419"/>
                <a:gd name="connsiteY26" fmla="*/ 156281 h 317260"/>
                <a:gd name="connsiteX27" fmla="*/ 88980 w 204419"/>
                <a:gd name="connsiteY27" fmla="*/ 175361 h 317260"/>
                <a:gd name="connsiteX28" fmla="*/ 103140 w 204419"/>
                <a:gd name="connsiteY28" fmla="*/ 87341 h 317260"/>
                <a:gd name="connsiteX29" fmla="*/ 69180 w 204419"/>
                <a:gd name="connsiteY29" fmla="*/ 87341 h 317260"/>
                <a:gd name="connsiteX30" fmla="*/ 68400 w 204419"/>
                <a:gd name="connsiteY30" fmla="*/ 91181 h 317260"/>
                <a:gd name="connsiteX31" fmla="*/ 79320 w 204419"/>
                <a:gd name="connsiteY31" fmla="*/ 91541 h 317260"/>
                <a:gd name="connsiteX32" fmla="*/ 84300 w 204419"/>
                <a:gd name="connsiteY32" fmla="*/ 95861 h 317260"/>
                <a:gd name="connsiteX33" fmla="*/ 84240 w 204419"/>
                <a:gd name="connsiteY33" fmla="*/ 98441 h 317260"/>
                <a:gd name="connsiteX34" fmla="*/ 68100 w 204419"/>
                <a:gd name="connsiteY34" fmla="*/ 198821 h 317260"/>
                <a:gd name="connsiteX35" fmla="*/ 3360 w 204419"/>
                <a:gd name="connsiteY35" fmla="*/ 272021 h 317260"/>
                <a:gd name="connsiteX36" fmla="*/ 0 w 204419"/>
                <a:gd name="connsiteY36" fmla="*/ 292241 h 317260"/>
                <a:gd name="connsiteX37" fmla="*/ 64920 w 204419"/>
                <a:gd name="connsiteY37" fmla="*/ 218921 h 317260"/>
                <a:gd name="connsiteX38" fmla="*/ 49080 w 204419"/>
                <a:gd name="connsiteY38" fmla="*/ 317201 h 317260"/>
                <a:gd name="connsiteX39" fmla="*/ 197880 w 204419"/>
                <a:gd name="connsiteY39" fmla="*/ 317261 h 317260"/>
                <a:gd name="connsiteX40" fmla="*/ 204420 w 204419"/>
                <a:gd name="connsiteY40" fmla="*/ 269441 h 317260"/>
                <a:gd name="connsiteX41" fmla="*/ 104880 w 204419"/>
                <a:gd name="connsiteY41" fmla="*/ 269441 h 3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4419" h="317260">
                  <a:moveTo>
                    <a:pt x="182820" y="300101"/>
                  </a:moveTo>
                  <a:lnTo>
                    <a:pt x="69060" y="300101"/>
                  </a:lnTo>
                  <a:cubicBezTo>
                    <a:pt x="69060" y="299741"/>
                    <a:pt x="69420" y="297761"/>
                    <a:pt x="69300" y="297761"/>
                  </a:cubicBezTo>
                  <a:lnTo>
                    <a:pt x="85740" y="195461"/>
                  </a:lnTo>
                  <a:lnTo>
                    <a:pt x="102840" y="176141"/>
                  </a:lnTo>
                  <a:lnTo>
                    <a:pt x="85560" y="285401"/>
                  </a:lnTo>
                  <a:cubicBezTo>
                    <a:pt x="85500" y="285701"/>
                    <a:pt x="85500" y="286181"/>
                    <a:pt x="85440" y="286541"/>
                  </a:cubicBezTo>
                  <a:lnTo>
                    <a:pt x="93960" y="286541"/>
                  </a:lnTo>
                  <a:lnTo>
                    <a:pt x="93960" y="286721"/>
                  </a:lnTo>
                  <a:lnTo>
                    <a:pt x="184620" y="286721"/>
                  </a:lnTo>
                  <a:lnTo>
                    <a:pt x="182820" y="300101"/>
                  </a:lnTo>
                  <a:close/>
                  <a:moveTo>
                    <a:pt x="136920" y="66101"/>
                  </a:moveTo>
                  <a:lnTo>
                    <a:pt x="138060" y="61601"/>
                  </a:lnTo>
                  <a:cubicBezTo>
                    <a:pt x="141420" y="46361"/>
                    <a:pt x="156900" y="12401"/>
                    <a:pt x="172980" y="5501"/>
                  </a:cubicBezTo>
                  <a:cubicBezTo>
                    <a:pt x="181020" y="2021"/>
                    <a:pt x="186420" y="3881"/>
                    <a:pt x="190140" y="12581"/>
                  </a:cubicBezTo>
                  <a:cubicBezTo>
                    <a:pt x="200700" y="37001"/>
                    <a:pt x="171540" y="94001"/>
                    <a:pt x="129360" y="135101"/>
                  </a:cubicBezTo>
                  <a:cubicBezTo>
                    <a:pt x="128940" y="135701"/>
                    <a:pt x="124920" y="139961"/>
                    <a:pt x="124920" y="139421"/>
                  </a:cubicBezTo>
                  <a:cubicBezTo>
                    <a:pt x="128580" y="118481"/>
                    <a:pt x="131580" y="90101"/>
                    <a:pt x="136920" y="66101"/>
                  </a:cubicBezTo>
                  <a:moveTo>
                    <a:pt x="104880" y="269501"/>
                  </a:moveTo>
                  <a:lnTo>
                    <a:pt x="123420" y="152861"/>
                  </a:lnTo>
                  <a:cubicBezTo>
                    <a:pt x="123420" y="152861"/>
                    <a:pt x="128880" y="146201"/>
                    <a:pt x="130020" y="145061"/>
                  </a:cubicBezTo>
                  <a:cubicBezTo>
                    <a:pt x="169020" y="104561"/>
                    <a:pt x="207540" y="42701"/>
                    <a:pt x="193860" y="11201"/>
                  </a:cubicBezTo>
                  <a:cubicBezTo>
                    <a:pt x="189300" y="581"/>
                    <a:pt x="181920" y="-2599"/>
                    <a:pt x="171000" y="2141"/>
                  </a:cubicBezTo>
                  <a:cubicBezTo>
                    <a:pt x="153000" y="9941"/>
                    <a:pt x="136980" y="35501"/>
                    <a:pt x="130800" y="51461"/>
                  </a:cubicBezTo>
                  <a:cubicBezTo>
                    <a:pt x="131100" y="50621"/>
                    <a:pt x="129180" y="55361"/>
                    <a:pt x="127620" y="59141"/>
                  </a:cubicBezTo>
                  <a:cubicBezTo>
                    <a:pt x="115860" y="88301"/>
                    <a:pt x="112260" y="120521"/>
                    <a:pt x="106860" y="150341"/>
                  </a:cubicBezTo>
                  <a:cubicBezTo>
                    <a:pt x="106500" y="152501"/>
                    <a:pt x="106200" y="154421"/>
                    <a:pt x="105900" y="156281"/>
                  </a:cubicBezTo>
                  <a:lnTo>
                    <a:pt x="88980" y="175361"/>
                  </a:lnTo>
                  <a:lnTo>
                    <a:pt x="103140" y="87341"/>
                  </a:lnTo>
                  <a:lnTo>
                    <a:pt x="69180" y="87341"/>
                  </a:lnTo>
                  <a:lnTo>
                    <a:pt x="68400" y="91181"/>
                  </a:lnTo>
                  <a:cubicBezTo>
                    <a:pt x="68400" y="91181"/>
                    <a:pt x="74700" y="91001"/>
                    <a:pt x="79320" y="91541"/>
                  </a:cubicBezTo>
                  <a:cubicBezTo>
                    <a:pt x="82920" y="91961"/>
                    <a:pt x="84000" y="94721"/>
                    <a:pt x="84300" y="95861"/>
                  </a:cubicBezTo>
                  <a:cubicBezTo>
                    <a:pt x="84540" y="96701"/>
                    <a:pt x="84240" y="98441"/>
                    <a:pt x="84240" y="98441"/>
                  </a:cubicBezTo>
                  <a:lnTo>
                    <a:pt x="68100" y="198821"/>
                  </a:lnTo>
                  <a:lnTo>
                    <a:pt x="3360" y="272021"/>
                  </a:lnTo>
                  <a:lnTo>
                    <a:pt x="0" y="292241"/>
                  </a:lnTo>
                  <a:lnTo>
                    <a:pt x="64920" y="218921"/>
                  </a:lnTo>
                  <a:lnTo>
                    <a:pt x="49080" y="317201"/>
                  </a:lnTo>
                  <a:lnTo>
                    <a:pt x="197880" y="317261"/>
                  </a:lnTo>
                  <a:lnTo>
                    <a:pt x="204420" y="269441"/>
                  </a:lnTo>
                  <a:lnTo>
                    <a:pt x="104880" y="269441"/>
                  </a:lnTo>
                  <a:close/>
                </a:path>
              </a:pathLst>
            </a:custGeom>
            <a:solidFill>
              <a:srgbClr val="06357A"/>
            </a:solidFill>
            <a:ln w="5989"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52C1ECC2-DFD7-DBFF-4E0F-199867E4E6A2}"/>
                </a:ext>
              </a:extLst>
            </p:cNvPr>
            <p:cNvSpPr/>
            <p:nvPr/>
          </p:nvSpPr>
          <p:spPr>
            <a:xfrm>
              <a:off x="2018518" y="400019"/>
              <a:ext cx="101459" cy="160680"/>
            </a:xfrm>
            <a:custGeom>
              <a:avLst/>
              <a:gdLst>
                <a:gd name="connsiteX0" fmla="*/ 0 w 101459"/>
                <a:gd name="connsiteY0" fmla="*/ 160680 h 160679"/>
                <a:gd name="connsiteX1" fmla="*/ 0 w 101459"/>
                <a:gd name="connsiteY1" fmla="*/ 0 h 160679"/>
                <a:gd name="connsiteX2" fmla="*/ 25500 w 101459"/>
                <a:gd name="connsiteY2" fmla="*/ 0 h 160679"/>
                <a:gd name="connsiteX3" fmla="*/ 25500 w 101459"/>
                <a:gd name="connsiteY3" fmla="*/ 139500 h 160679"/>
                <a:gd name="connsiteX4" fmla="*/ 101460 w 101459"/>
                <a:gd name="connsiteY4" fmla="*/ 139500 h 160679"/>
                <a:gd name="connsiteX5" fmla="*/ 101460 w 101459"/>
                <a:gd name="connsiteY5"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59" h="160679">
                  <a:moveTo>
                    <a:pt x="0" y="160680"/>
                  </a:moveTo>
                  <a:lnTo>
                    <a:pt x="0" y="0"/>
                  </a:lnTo>
                  <a:lnTo>
                    <a:pt x="25500" y="0"/>
                  </a:lnTo>
                  <a:lnTo>
                    <a:pt x="25500" y="139500"/>
                  </a:lnTo>
                  <a:lnTo>
                    <a:pt x="101460" y="139500"/>
                  </a:lnTo>
                  <a:lnTo>
                    <a:pt x="101460" y="160680"/>
                  </a:lnTo>
                  <a:close/>
                </a:path>
              </a:pathLst>
            </a:custGeom>
            <a:solidFill>
              <a:srgbClr val="06357A"/>
            </a:solidFill>
            <a:ln w="5989"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7C4EA3A4-D0D4-9195-78F5-FD1E09B00806}"/>
                </a:ext>
              </a:extLst>
            </p:cNvPr>
            <p:cNvSpPr/>
            <p:nvPr/>
          </p:nvSpPr>
          <p:spPr>
            <a:xfrm>
              <a:off x="213575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2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44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40222644-5922-46D8-245F-B13D6CAA9B8E}"/>
                </a:ext>
              </a:extLst>
            </p:cNvPr>
            <p:cNvSpPr/>
            <p:nvPr/>
          </p:nvSpPr>
          <p:spPr>
            <a:xfrm>
              <a:off x="2363039" y="400019"/>
              <a:ext cx="101520" cy="160679"/>
            </a:xfrm>
            <a:custGeom>
              <a:avLst/>
              <a:gdLst>
                <a:gd name="connsiteX0" fmla="*/ 0 w 101520"/>
                <a:gd name="connsiteY0" fmla="*/ 160680 h 160679"/>
                <a:gd name="connsiteX1" fmla="*/ 0 w 101520"/>
                <a:gd name="connsiteY1" fmla="*/ 0 h 160679"/>
                <a:gd name="connsiteX2" fmla="*/ 99480 w 101520"/>
                <a:gd name="connsiteY2" fmla="*/ 0 h 160679"/>
                <a:gd name="connsiteX3" fmla="*/ 99480 w 101520"/>
                <a:gd name="connsiteY3" fmla="*/ 21180 h 160679"/>
                <a:gd name="connsiteX4" fmla="*/ 25560 w 101520"/>
                <a:gd name="connsiteY4" fmla="*/ 21180 h 160679"/>
                <a:gd name="connsiteX5" fmla="*/ 25560 w 101520"/>
                <a:gd name="connsiteY5" fmla="*/ 67560 h 160679"/>
                <a:gd name="connsiteX6" fmla="*/ 86700 w 101520"/>
                <a:gd name="connsiteY6" fmla="*/ 67560 h 160679"/>
                <a:gd name="connsiteX7" fmla="*/ 86700 w 101520"/>
                <a:gd name="connsiteY7" fmla="*/ 88740 h 160679"/>
                <a:gd name="connsiteX8" fmla="*/ 25560 w 101520"/>
                <a:gd name="connsiteY8" fmla="*/ 88740 h 160679"/>
                <a:gd name="connsiteX9" fmla="*/ 25560 w 101520"/>
                <a:gd name="connsiteY9" fmla="*/ 139500 h 160679"/>
                <a:gd name="connsiteX10" fmla="*/ 101520 w 101520"/>
                <a:gd name="connsiteY10" fmla="*/ 139500 h 160679"/>
                <a:gd name="connsiteX11" fmla="*/ 101520 w 101520"/>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20" h="160679">
                  <a:moveTo>
                    <a:pt x="0" y="160680"/>
                  </a:moveTo>
                  <a:lnTo>
                    <a:pt x="0" y="0"/>
                  </a:lnTo>
                  <a:lnTo>
                    <a:pt x="99480" y="0"/>
                  </a:lnTo>
                  <a:lnTo>
                    <a:pt x="99480" y="21180"/>
                  </a:lnTo>
                  <a:lnTo>
                    <a:pt x="25560" y="21180"/>
                  </a:lnTo>
                  <a:lnTo>
                    <a:pt x="25560" y="67560"/>
                  </a:lnTo>
                  <a:lnTo>
                    <a:pt x="86700" y="67560"/>
                  </a:lnTo>
                  <a:lnTo>
                    <a:pt x="8670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61F46FCC-1B47-745A-10A4-8DCEDD91B51D}"/>
                </a:ext>
              </a:extLst>
            </p:cNvPr>
            <p:cNvSpPr/>
            <p:nvPr/>
          </p:nvSpPr>
          <p:spPr>
            <a:xfrm>
              <a:off x="2513939" y="400019"/>
              <a:ext cx="99539" cy="160679"/>
            </a:xfrm>
            <a:custGeom>
              <a:avLst/>
              <a:gdLst>
                <a:gd name="connsiteX0" fmla="*/ 25560 w 99539"/>
                <a:gd name="connsiteY0" fmla="*/ 21180 h 160679"/>
                <a:gd name="connsiteX1" fmla="*/ 25560 w 99539"/>
                <a:gd name="connsiteY1" fmla="*/ 69900 h 160679"/>
                <a:gd name="connsiteX2" fmla="*/ 86760 w 99539"/>
                <a:gd name="connsiteY2" fmla="*/ 69900 h 160679"/>
                <a:gd name="connsiteX3" fmla="*/ 86760 w 99539"/>
                <a:gd name="connsiteY3" fmla="*/ 91080 h 160679"/>
                <a:gd name="connsiteX4" fmla="*/ 25560 w 99539"/>
                <a:gd name="connsiteY4" fmla="*/ 91080 h 160679"/>
                <a:gd name="connsiteX5" fmla="*/ 25560 w 99539"/>
                <a:gd name="connsiteY5" fmla="*/ 160680 h 160679"/>
                <a:gd name="connsiteX6" fmla="*/ 0 w 99539"/>
                <a:gd name="connsiteY6" fmla="*/ 160680 h 160679"/>
                <a:gd name="connsiteX7" fmla="*/ 0 w 99539"/>
                <a:gd name="connsiteY7" fmla="*/ 0 h 160679"/>
                <a:gd name="connsiteX8" fmla="*/ 99540 w 99539"/>
                <a:gd name="connsiteY8" fmla="*/ 0 h 160679"/>
                <a:gd name="connsiteX9" fmla="*/ 99540 w 99539"/>
                <a:gd name="connsiteY9" fmla="*/ 211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9" h="160679">
                  <a:moveTo>
                    <a:pt x="25560" y="21180"/>
                  </a:moveTo>
                  <a:lnTo>
                    <a:pt x="25560" y="69900"/>
                  </a:lnTo>
                  <a:lnTo>
                    <a:pt x="86760" y="69900"/>
                  </a:lnTo>
                  <a:lnTo>
                    <a:pt x="86760" y="91080"/>
                  </a:lnTo>
                  <a:lnTo>
                    <a:pt x="25560" y="91080"/>
                  </a:lnTo>
                  <a:lnTo>
                    <a:pt x="25560" y="160680"/>
                  </a:lnTo>
                  <a:lnTo>
                    <a:pt x="0" y="160680"/>
                  </a:lnTo>
                  <a:lnTo>
                    <a:pt x="0" y="0"/>
                  </a:lnTo>
                  <a:lnTo>
                    <a:pt x="99540" y="0"/>
                  </a:lnTo>
                  <a:lnTo>
                    <a:pt x="99540" y="21180"/>
                  </a:lnTo>
                  <a:close/>
                </a:path>
              </a:pathLst>
            </a:custGeom>
            <a:solidFill>
              <a:srgbClr val="06357A"/>
            </a:solidFill>
            <a:ln w="5989"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B922D005-A9C1-7B57-ABFA-0C31D1189FCF}"/>
                </a:ext>
              </a:extLst>
            </p:cNvPr>
            <p:cNvSpPr/>
            <p:nvPr/>
          </p:nvSpPr>
          <p:spPr>
            <a:xfrm>
              <a:off x="2659859" y="400019"/>
              <a:ext cx="99480" cy="160679"/>
            </a:xfrm>
            <a:custGeom>
              <a:avLst/>
              <a:gdLst>
                <a:gd name="connsiteX0" fmla="*/ 0 w 99480"/>
                <a:gd name="connsiteY0" fmla="*/ 0 h 160679"/>
                <a:gd name="connsiteX1" fmla="*/ 0 w 99480"/>
                <a:gd name="connsiteY1" fmla="*/ 160680 h 160679"/>
                <a:gd name="connsiteX2" fmla="*/ 25560 w 99480"/>
                <a:gd name="connsiteY2" fmla="*/ 160680 h 160679"/>
                <a:gd name="connsiteX3" fmla="*/ 25560 w 99480"/>
                <a:gd name="connsiteY3" fmla="*/ 91080 h 160679"/>
                <a:gd name="connsiteX4" fmla="*/ 86700 w 99480"/>
                <a:gd name="connsiteY4" fmla="*/ 91080 h 160679"/>
                <a:gd name="connsiteX5" fmla="*/ 86700 w 99480"/>
                <a:gd name="connsiteY5" fmla="*/ 69900 h 160679"/>
                <a:gd name="connsiteX6" fmla="*/ 25560 w 99480"/>
                <a:gd name="connsiteY6" fmla="*/ 69900 h 160679"/>
                <a:gd name="connsiteX7" fmla="*/ 25560 w 99480"/>
                <a:gd name="connsiteY7" fmla="*/ 21180 h 160679"/>
                <a:gd name="connsiteX8" fmla="*/ 99480 w 99480"/>
                <a:gd name="connsiteY8" fmla="*/ 21180 h 160679"/>
                <a:gd name="connsiteX9" fmla="*/ 99480 w 99480"/>
                <a:gd name="connsiteY9"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0" h="160679">
                  <a:moveTo>
                    <a:pt x="0" y="0"/>
                  </a:moveTo>
                  <a:lnTo>
                    <a:pt x="0" y="160680"/>
                  </a:lnTo>
                  <a:lnTo>
                    <a:pt x="25560" y="160680"/>
                  </a:lnTo>
                  <a:lnTo>
                    <a:pt x="25560" y="91080"/>
                  </a:lnTo>
                  <a:lnTo>
                    <a:pt x="86700" y="91080"/>
                  </a:lnTo>
                  <a:lnTo>
                    <a:pt x="86700" y="69900"/>
                  </a:lnTo>
                  <a:lnTo>
                    <a:pt x="25560" y="69900"/>
                  </a:lnTo>
                  <a:lnTo>
                    <a:pt x="25560" y="21180"/>
                  </a:lnTo>
                  <a:lnTo>
                    <a:pt x="99480" y="21180"/>
                  </a:lnTo>
                  <a:lnTo>
                    <a:pt x="99480" y="0"/>
                  </a:lnTo>
                  <a:close/>
                </a:path>
              </a:pathLst>
            </a:custGeom>
            <a:solidFill>
              <a:srgbClr val="06357A"/>
            </a:solidFill>
            <a:ln w="5989"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76F29F5B-039F-4107-CCCC-A897662C120B}"/>
                </a:ext>
              </a:extLst>
            </p:cNvPr>
            <p:cNvSpPr/>
            <p:nvPr/>
          </p:nvSpPr>
          <p:spPr>
            <a:xfrm>
              <a:off x="756000" y="400019"/>
              <a:ext cx="101519" cy="160679"/>
            </a:xfrm>
            <a:custGeom>
              <a:avLst/>
              <a:gdLst>
                <a:gd name="connsiteX0" fmla="*/ 0 w 101519"/>
                <a:gd name="connsiteY0" fmla="*/ 0 h 160679"/>
                <a:gd name="connsiteX1" fmla="*/ 0 w 101519"/>
                <a:gd name="connsiteY1" fmla="*/ 160680 h 160679"/>
                <a:gd name="connsiteX2" fmla="*/ 101520 w 101519"/>
                <a:gd name="connsiteY2" fmla="*/ 160680 h 160679"/>
                <a:gd name="connsiteX3" fmla="*/ 101520 w 101519"/>
                <a:gd name="connsiteY3" fmla="*/ 139500 h 160679"/>
                <a:gd name="connsiteX4" fmla="*/ 25560 w 101519"/>
                <a:gd name="connsiteY4" fmla="*/ 139500 h 160679"/>
                <a:gd name="connsiteX5" fmla="*/ 25560 w 101519"/>
                <a:gd name="connsiteY5"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19" h="160679">
                  <a:moveTo>
                    <a:pt x="0" y="0"/>
                  </a:moveTo>
                  <a:lnTo>
                    <a:pt x="0" y="160680"/>
                  </a:lnTo>
                  <a:lnTo>
                    <a:pt x="101520" y="160680"/>
                  </a:lnTo>
                  <a:lnTo>
                    <a:pt x="101520" y="139500"/>
                  </a:lnTo>
                  <a:lnTo>
                    <a:pt x="25560" y="139500"/>
                  </a:lnTo>
                  <a:lnTo>
                    <a:pt x="25560" y="0"/>
                  </a:lnTo>
                  <a:close/>
                </a:path>
              </a:pathLst>
            </a:custGeom>
            <a:solidFill>
              <a:srgbClr val="06357A"/>
            </a:solidFill>
            <a:ln w="59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52B6A854-0E3E-E1BE-5DCB-6ADD336AF0FB}"/>
                </a:ext>
              </a:extLst>
            </p:cNvPr>
            <p:cNvSpPr/>
            <p:nvPr/>
          </p:nvSpPr>
          <p:spPr>
            <a:xfrm>
              <a:off x="873299" y="397019"/>
              <a:ext cx="178199" cy="166679"/>
            </a:xfrm>
            <a:custGeom>
              <a:avLst/>
              <a:gdLst>
                <a:gd name="connsiteX0" fmla="*/ 178200 w 178199"/>
                <a:gd name="connsiteY0" fmla="*/ 83340 h 166679"/>
                <a:gd name="connsiteX1" fmla="*/ 89100 w 178199"/>
                <a:gd name="connsiteY1" fmla="*/ 0 h 166679"/>
                <a:gd name="connsiteX2" fmla="*/ 0 w 178199"/>
                <a:gd name="connsiteY2" fmla="*/ 83340 h 166679"/>
                <a:gd name="connsiteX3" fmla="*/ 89100 w 178199"/>
                <a:gd name="connsiteY3" fmla="*/ 166680 h 166679"/>
                <a:gd name="connsiteX4" fmla="*/ 178200 w 178199"/>
                <a:gd name="connsiteY4" fmla="*/ 83340 h 166679"/>
                <a:gd name="connsiteX5" fmla="*/ 150960 w 178199"/>
                <a:gd name="connsiteY5" fmla="*/ 83340 h 166679"/>
                <a:gd name="connsiteX6" fmla="*/ 89100 w 178199"/>
                <a:gd name="connsiteY6" fmla="*/ 145560 h 166679"/>
                <a:gd name="connsiteX7" fmla="*/ 26940 w 178199"/>
                <a:gd name="connsiteY7" fmla="*/ 83340 h 166679"/>
                <a:gd name="connsiteX8" fmla="*/ 89100 w 178199"/>
                <a:gd name="connsiteY8" fmla="*/ 21480 h 166679"/>
                <a:gd name="connsiteX9" fmla="*/ 150960 w 178199"/>
                <a:gd name="connsiteY9" fmla="*/ 83340 h 1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199" h="166679">
                  <a:moveTo>
                    <a:pt x="178200" y="83340"/>
                  </a:moveTo>
                  <a:cubicBezTo>
                    <a:pt x="178200" y="35280"/>
                    <a:pt x="140580" y="0"/>
                    <a:pt x="89100" y="0"/>
                  </a:cubicBezTo>
                  <a:cubicBezTo>
                    <a:pt x="37320" y="0"/>
                    <a:pt x="0" y="35280"/>
                    <a:pt x="0" y="83340"/>
                  </a:cubicBezTo>
                  <a:cubicBezTo>
                    <a:pt x="0" y="131760"/>
                    <a:pt x="37320" y="166680"/>
                    <a:pt x="89100" y="166680"/>
                  </a:cubicBezTo>
                  <a:cubicBezTo>
                    <a:pt x="140520" y="166680"/>
                    <a:pt x="178200" y="131760"/>
                    <a:pt x="178200" y="83340"/>
                  </a:cubicBezTo>
                  <a:moveTo>
                    <a:pt x="150960" y="83340"/>
                  </a:moveTo>
                  <a:cubicBezTo>
                    <a:pt x="150960" y="118620"/>
                    <a:pt x="124380" y="145560"/>
                    <a:pt x="89100" y="145560"/>
                  </a:cubicBezTo>
                  <a:cubicBezTo>
                    <a:pt x="53820" y="145560"/>
                    <a:pt x="26940" y="118680"/>
                    <a:pt x="26940" y="83340"/>
                  </a:cubicBezTo>
                  <a:cubicBezTo>
                    <a:pt x="26940" y="48060"/>
                    <a:pt x="53820" y="21480"/>
                    <a:pt x="89100" y="21480"/>
                  </a:cubicBezTo>
                  <a:cubicBezTo>
                    <a:pt x="124380" y="21480"/>
                    <a:pt x="150960" y="48060"/>
                    <a:pt x="150960" y="83340"/>
                  </a:cubicBezTo>
                </a:path>
              </a:pathLst>
            </a:custGeom>
            <a:solidFill>
              <a:srgbClr val="06357A"/>
            </a:solidFill>
            <a:ln w="59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58312148-0FFD-6759-7CCF-DF59D5694227}"/>
                </a:ext>
              </a:extLst>
            </p:cNvPr>
            <p:cNvSpPr/>
            <p:nvPr/>
          </p:nvSpPr>
          <p:spPr>
            <a:xfrm>
              <a:off x="1069619" y="400019"/>
              <a:ext cx="143879" cy="160679"/>
            </a:xfrm>
            <a:custGeom>
              <a:avLst/>
              <a:gdLst>
                <a:gd name="connsiteX0" fmla="*/ 82380 w 143879"/>
                <a:gd name="connsiteY0" fmla="*/ 88740 h 160679"/>
                <a:gd name="connsiteX1" fmla="*/ 82380 w 143879"/>
                <a:gd name="connsiteY1" fmla="*/ 160680 h 160679"/>
                <a:gd name="connsiteX2" fmla="*/ 57120 w 143879"/>
                <a:gd name="connsiteY2" fmla="*/ 160680 h 160679"/>
                <a:gd name="connsiteX3" fmla="*/ 57120 w 143879"/>
                <a:gd name="connsiteY3" fmla="*/ 88740 h 160679"/>
                <a:gd name="connsiteX4" fmla="*/ 0 w 143879"/>
                <a:gd name="connsiteY4" fmla="*/ 0 h 160679"/>
                <a:gd name="connsiteX5" fmla="*/ 29580 w 143879"/>
                <a:gd name="connsiteY5" fmla="*/ 0 h 160679"/>
                <a:gd name="connsiteX6" fmla="*/ 71940 w 143879"/>
                <a:gd name="connsiteY6" fmla="*/ 65520 h 160679"/>
                <a:gd name="connsiteX7" fmla="*/ 114300 w 143879"/>
                <a:gd name="connsiteY7" fmla="*/ 0 h 160679"/>
                <a:gd name="connsiteX8" fmla="*/ 143880 w 143879"/>
                <a:gd name="connsiteY8" fmla="*/ 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79" h="160679">
                  <a:moveTo>
                    <a:pt x="82380" y="88740"/>
                  </a:moveTo>
                  <a:lnTo>
                    <a:pt x="82380" y="160680"/>
                  </a:lnTo>
                  <a:lnTo>
                    <a:pt x="57120" y="160680"/>
                  </a:lnTo>
                  <a:lnTo>
                    <a:pt x="57120" y="88740"/>
                  </a:lnTo>
                  <a:lnTo>
                    <a:pt x="0" y="0"/>
                  </a:lnTo>
                  <a:lnTo>
                    <a:pt x="29580" y="0"/>
                  </a:lnTo>
                  <a:lnTo>
                    <a:pt x="71940" y="65520"/>
                  </a:lnTo>
                  <a:lnTo>
                    <a:pt x="114300" y="0"/>
                  </a:lnTo>
                  <a:lnTo>
                    <a:pt x="143880" y="0"/>
                  </a:lnTo>
                  <a:close/>
                </a:path>
              </a:pathLst>
            </a:custGeom>
            <a:solidFill>
              <a:srgbClr val="06357A"/>
            </a:solidFill>
            <a:ln w="5989"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A5746BF5-05C2-48B6-36B9-E32CC8225D14}"/>
                </a:ext>
              </a:extLst>
            </p:cNvPr>
            <p:cNvSpPr/>
            <p:nvPr/>
          </p:nvSpPr>
          <p:spPr>
            <a:xfrm>
              <a:off x="1251479" y="400019"/>
              <a:ext cx="101519" cy="160679"/>
            </a:xfrm>
            <a:custGeom>
              <a:avLst/>
              <a:gdLst>
                <a:gd name="connsiteX0" fmla="*/ 0 w 101519"/>
                <a:gd name="connsiteY0" fmla="*/ 160680 h 160679"/>
                <a:gd name="connsiteX1" fmla="*/ 0 w 101519"/>
                <a:gd name="connsiteY1" fmla="*/ 0 h 160679"/>
                <a:gd name="connsiteX2" fmla="*/ 99480 w 101519"/>
                <a:gd name="connsiteY2" fmla="*/ 0 h 160679"/>
                <a:gd name="connsiteX3" fmla="*/ 99480 w 101519"/>
                <a:gd name="connsiteY3" fmla="*/ 21180 h 160679"/>
                <a:gd name="connsiteX4" fmla="*/ 25560 w 101519"/>
                <a:gd name="connsiteY4" fmla="*/ 21180 h 160679"/>
                <a:gd name="connsiteX5" fmla="*/ 25560 w 101519"/>
                <a:gd name="connsiteY5" fmla="*/ 67560 h 160679"/>
                <a:gd name="connsiteX6" fmla="*/ 86760 w 101519"/>
                <a:gd name="connsiteY6" fmla="*/ 67560 h 160679"/>
                <a:gd name="connsiteX7" fmla="*/ 86760 w 101519"/>
                <a:gd name="connsiteY7" fmla="*/ 88740 h 160679"/>
                <a:gd name="connsiteX8" fmla="*/ 25560 w 101519"/>
                <a:gd name="connsiteY8" fmla="*/ 88740 h 160679"/>
                <a:gd name="connsiteX9" fmla="*/ 25560 w 101519"/>
                <a:gd name="connsiteY9" fmla="*/ 139500 h 160679"/>
                <a:gd name="connsiteX10" fmla="*/ 101520 w 101519"/>
                <a:gd name="connsiteY10" fmla="*/ 139500 h 160679"/>
                <a:gd name="connsiteX11" fmla="*/ 101520 w 101519"/>
                <a:gd name="connsiteY11" fmla="*/ 160680 h 1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19" h="160679">
                  <a:moveTo>
                    <a:pt x="0" y="160680"/>
                  </a:moveTo>
                  <a:lnTo>
                    <a:pt x="0" y="0"/>
                  </a:lnTo>
                  <a:lnTo>
                    <a:pt x="99480" y="0"/>
                  </a:lnTo>
                  <a:lnTo>
                    <a:pt x="99480" y="21180"/>
                  </a:lnTo>
                  <a:lnTo>
                    <a:pt x="25560" y="21180"/>
                  </a:lnTo>
                  <a:lnTo>
                    <a:pt x="25560" y="67560"/>
                  </a:lnTo>
                  <a:lnTo>
                    <a:pt x="86760" y="67560"/>
                  </a:lnTo>
                  <a:lnTo>
                    <a:pt x="86760" y="88740"/>
                  </a:lnTo>
                  <a:lnTo>
                    <a:pt x="25560" y="88740"/>
                  </a:lnTo>
                  <a:lnTo>
                    <a:pt x="25560" y="139500"/>
                  </a:lnTo>
                  <a:lnTo>
                    <a:pt x="101520" y="139500"/>
                  </a:lnTo>
                  <a:lnTo>
                    <a:pt x="101520" y="160680"/>
                  </a:lnTo>
                  <a:close/>
                </a:path>
              </a:pathLst>
            </a:custGeom>
            <a:solidFill>
              <a:srgbClr val="06357A"/>
            </a:solidFill>
            <a:ln w="5989"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8148A4DF-7632-0985-F780-865F89773F9F}"/>
                </a:ext>
              </a:extLst>
            </p:cNvPr>
            <p:cNvSpPr/>
            <p:nvPr/>
          </p:nvSpPr>
          <p:spPr>
            <a:xfrm>
              <a:off x="1402439" y="400019"/>
              <a:ext cx="145919" cy="162719"/>
            </a:xfrm>
            <a:custGeom>
              <a:avLst/>
              <a:gdLst>
                <a:gd name="connsiteX0" fmla="*/ 122700 w 145919"/>
                <a:gd name="connsiteY0" fmla="*/ 162720 h 162719"/>
                <a:gd name="connsiteX1" fmla="*/ 31920 w 145919"/>
                <a:gd name="connsiteY1" fmla="*/ 46740 h 162719"/>
                <a:gd name="connsiteX2" fmla="*/ 23520 w 145919"/>
                <a:gd name="connsiteY2" fmla="*/ 31920 h 162719"/>
                <a:gd name="connsiteX3" fmla="*/ 23520 w 145919"/>
                <a:gd name="connsiteY3" fmla="*/ 160680 h 162719"/>
                <a:gd name="connsiteX4" fmla="*/ 0 w 145919"/>
                <a:gd name="connsiteY4" fmla="*/ 160680 h 162719"/>
                <a:gd name="connsiteX5" fmla="*/ 0 w 145919"/>
                <a:gd name="connsiteY5" fmla="*/ 0 h 162719"/>
                <a:gd name="connsiteX6" fmla="*/ 25560 w 145919"/>
                <a:gd name="connsiteY6" fmla="*/ 0 h 162719"/>
                <a:gd name="connsiteX7" fmla="*/ 116340 w 145919"/>
                <a:gd name="connsiteY7" fmla="*/ 114300 h 162719"/>
                <a:gd name="connsiteX8" fmla="*/ 122700 w 145919"/>
                <a:gd name="connsiteY8" fmla="*/ 129060 h 162719"/>
                <a:gd name="connsiteX9" fmla="*/ 122700 w 145919"/>
                <a:gd name="connsiteY9" fmla="*/ 0 h 162719"/>
                <a:gd name="connsiteX10" fmla="*/ 145920 w 145919"/>
                <a:gd name="connsiteY10" fmla="*/ 0 h 162719"/>
                <a:gd name="connsiteX11" fmla="*/ 145920 w 145919"/>
                <a:gd name="connsiteY11" fmla="*/ 162660 h 162719"/>
                <a:gd name="connsiteX12" fmla="*/ 122700 w 145919"/>
                <a:gd name="connsiteY12" fmla="*/ 16266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9" h="162719">
                  <a:moveTo>
                    <a:pt x="122700" y="162720"/>
                  </a:moveTo>
                  <a:lnTo>
                    <a:pt x="31920" y="46740"/>
                  </a:lnTo>
                  <a:cubicBezTo>
                    <a:pt x="26520" y="39660"/>
                    <a:pt x="24540" y="36300"/>
                    <a:pt x="23520" y="31920"/>
                  </a:cubicBezTo>
                  <a:lnTo>
                    <a:pt x="23520" y="160680"/>
                  </a:lnTo>
                  <a:lnTo>
                    <a:pt x="0" y="160680"/>
                  </a:lnTo>
                  <a:lnTo>
                    <a:pt x="0" y="0"/>
                  </a:lnTo>
                  <a:lnTo>
                    <a:pt x="25560" y="0"/>
                  </a:lnTo>
                  <a:lnTo>
                    <a:pt x="116340" y="114300"/>
                  </a:lnTo>
                  <a:cubicBezTo>
                    <a:pt x="119040" y="117960"/>
                    <a:pt x="122040" y="124020"/>
                    <a:pt x="122700" y="129060"/>
                  </a:cubicBezTo>
                  <a:lnTo>
                    <a:pt x="122700" y="0"/>
                  </a:lnTo>
                  <a:lnTo>
                    <a:pt x="145920" y="0"/>
                  </a:lnTo>
                  <a:lnTo>
                    <a:pt x="145920" y="162660"/>
                  </a:lnTo>
                  <a:lnTo>
                    <a:pt x="122700" y="162660"/>
                  </a:lnTo>
                  <a:close/>
                </a:path>
              </a:pathLst>
            </a:custGeom>
            <a:solidFill>
              <a:srgbClr val="06357A"/>
            </a:solidFill>
            <a:ln w="59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EA87C530-CE4C-31F9-30D4-AD8BDBB8625D}"/>
                </a:ext>
              </a:extLst>
            </p:cNvPr>
            <p:cNvSpPr/>
            <p:nvPr/>
          </p:nvSpPr>
          <p:spPr>
            <a:xfrm>
              <a:off x="1597379" y="397320"/>
              <a:ext cx="115679" cy="166319"/>
            </a:xfrm>
            <a:custGeom>
              <a:avLst/>
              <a:gdLst>
                <a:gd name="connsiteX0" fmla="*/ 106560 w 115679"/>
                <a:gd name="connsiteY0" fmla="*/ 34620 h 166319"/>
                <a:gd name="connsiteX1" fmla="*/ 86400 w 115679"/>
                <a:gd name="connsiteY1" fmla="*/ 24840 h 166319"/>
                <a:gd name="connsiteX2" fmla="*/ 63900 w 115679"/>
                <a:gd name="connsiteY2" fmla="*/ 21480 h 166319"/>
                <a:gd name="connsiteX3" fmla="*/ 30960 w 115679"/>
                <a:gd name="connsiteY3" fmla="*/ 41280 h 166319"/>
                <a:gd name="connsiteX4" fmla="*/ 32940 w 115679"/>
                <a:gd name="connsiteY4" fmla="*/ 49680 h 166319"/>
                <a:gd name="connsiteX5" fmla="*/ 74280 w 115679"/>
                <a:gd name="connsiteY5" fmla="*/ 74880 h 166319"/>
                <a:gd name="connsiteX6" fmla="*/ 114300 w 115679"/>
                <a:gd name="connsiteY6" fmla="*/ 120600 h 166319"/>
                <a:gd name="connsiteX7" fmla="*/ 55800 w 115679"/>
                <a:gd name="connsiteY7" fmla="*/ 166320 h 166319"/>
                <a:gd name="connsiteX8" fmla="*/ 22860 w 115679"/>
                <a:gd name="connsiteY8" fmla="*/ 161280 h 166319"/>
                <a:gd name="connsiteX9" fmla="*/ 0 w 115679"/>
                <a:gd name="connsiteY9" fmla="*/ 149160 h 166319"/>
                <a:gd name="connsiteX10" fmla="*/ 11400 w 115679"/>
                <a:gd name="connsiteY10" fmla="*/ 127320 h 166319"/>
                <a:gd name="connsiteX11" fmla="*/ 32220 w 115679"/>
                <a:gd name="connsiteY11" fmla="*/ 140100 h 166319"/>
                <a:gd name="connsiteX12" fmla="*/ 58800 w 115679"/>
                <a:gd name="connsiteY12" fmla="*/ 145500 h 166319"/>
                <a:gd name="connsiteX13" fmla="*/ 88740 w 115679"/>
                <a:gd name="connsiteY13" fmla="*/ 124020 h 166319"/>
                <a:gd name="connsiteX14" fmla="*/ 70560 w 115679"/>
                <a:gd name="connsiteY14" fmla="*/ 100140 h 166319"/>
                <a:gd name="connsiteX15" fmla="*/ 41340 w 115679"/>
                <a:gd name="connsiteY15" fmla="*/ 86040 h 166319"/>
                <a:gd name="connsiteX16" fmla="*/ 5700 w 115679"/>
                <a:gd name="connsiteY16" fmla="*/ 43680 h 166319"/>
                <a:gd name="connsiteX17" fmla="*/ 64200 w 115679"/>
                <a:gd name="connsiteY17" fmla="*/ 0 h 166319"/>
                <a:gd name="connsiteX18" fmla="*/ 94140 w 115679"/>
                <a:gd name="connsiteY18" fmla="*/ 4020 h 166319"/>
                <a:gd name="connsiteX19" fmla="*/ 115680 w 115679"/>
                <a:gd name="connsiteY19" fmla="*/ 13440 h 166319"/>
                <a:gd name="connsiteX20" fmla="*/ 106560 w 115679"/>
                <a:gd name="connsiteY20" fmla="*/ 34620 h 1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679" h="166319">
                  <a:moveTo>
                    <a:pt x="106560" y="34620"/>
                  </a:moveTo>
                  <a:cubicBezTo>
                    <a:pt x="98160" y="28920"/>
                    <a:pt x="94440" y="27240"/>
                    <a:pt x="86400" y="24840"/>
                  </a:cubicBezTo>
                  <a:cubicBezTo>
                    <a:pt x="78000" y="22140"/>
                    <a:pt x="70920" y="21480"/>
                    <a:pt x="63900" y="21480"/>
                  </a:cubicBezTo>
                  <a:cubicBezTo>
                    <a:pt x="43380" y="21480"/>
                    <a:pt x="30960" y="28860"/>
                    <a:pt x="30960" y="41280"/>
                  </a:cubicBezTo>
                  <a:cubicBezTo>
                    <a:pt x="30960" y="44640"/>
                    <a:pt x="31620" y="47700"/>
                    <a:pt x="32940" y="49680"/>
                  </a:cubicBezTo>
                  <a:cubicBezTo>
                    <a:pt x="37680" y="56760"/>
                    <a:pt x="43020" y="59760"/>
                    <a:pt x="74280" y="74880"/>
                  </a:cubicBezTo>
                  <a:cubicBezTo>
                    <a:pt x="104520" y="89640"/>
                    <a:pt x="114300" y="100740"/>
                    <a:pt x="114300" y="120600"/>
                  </a:cubicBezTo>
                  <a:cubicBezTo>
                    <a:pt x="114300" y="149160"/>
                    <a:pt x="92100" y="166320"/>
                    <a:pt x="55800" y="166320"/>
                  </a:cubicBezTo>
                  <a:cubicBezTo>
                    <a:pt x="43680" y="166320"/>
                    <a:pt x="32280" y="164640"/>
                    <a:pt x="22860" y="161280"/>
                  </a:cubicBezTo>
                  <a:cubicBezTo>
                    <a:pt x="16140" y="158580"/>
                    <a:pt x="11400" y="156240"/>
                    <a:pt x="0" y="149160"/>
                  </a:cubicBezTo>
                  <a:lnTo>
                    <a:pt x="11400" y="127320"/>
                  </a:lnTo>
                  <a:cubicBezTo>
                    <a:pt x="21480" y="134700"/>
                    <a:pt x="25860" y="137400"/>
                    <a:pt x="32220" y="140100"/>
                  </a:cubicBezTo>
                  <a:cubicBezTo>
                    <a:pt x="40320" y="143460"/>
                    <a:pt x="49680" y="145500"/>
                    <a:pt x="58800" y="145500"/>
                  </a:cubicBezTo>
                  <a:cubicBezTo>
                    <a:pt x="77640" y="145500"/>
                    <a:pt x="88740" y="137460"/>
                    <a:pt x="88740" y="124020"/>
                  </a:cubicBezTo>
                  <a:cubicBezTo>
                    <a:pt x="88740" y="113280"/>
                    <a:pt x="83340" y="106200"/>
                    <a:pt x="70560" y="100140"/>
                  </a:cubicBezTo>
                  <a:lnTo>
                    <a:pt x="41340" y="86040"/>
                  </a:lnTo>
                  <a:cubicBezTo>
                    <a:pt x="16800" y="74280"/>
                    <a:pt x="5700" y="60840"/>
                    <a:pt x="5700" y="43680"/>
                  </a:cubicBezTo>
                  <a:cubicBezTo>
                    <a:pt x="5700" y="17100"/>
                    <a:pt x="28560" y="0"/>
                    <a:pt x="64200" y="0"/>
                  </a:cubicBezTo>
                  <a:cubicBezTo>
                    <a:pt x="74640" y="0"/>
                    <a:pt x="85020" y="1320"/>
                    <a:pt x="94140" y="4020"/>
                  </a:cubicBezTo>
                  <a:cubicBezTo>
                    <a:pt x="101520" y="6060"/>
                    <a:pt x="105540" y="8040"/>
                    <a:pt x="115680" y="13440"/>
                  </a:cubicBezTo>
                  <a:lnTo>
                    <a:pt x="106560" y="34620"/>
                  </a:lnTo>
                  <a:close/>
                </a:path>
              </a:pathLst>
            </a:custGeom>
            <a:solidFill>
              <a:srgbClr val="06357A"/>
            </a:solidFill>
            <a:ln w="5989"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32508264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31" r:id="rId31"/>
    <p:sldLayoutId id="2147483696" r:id="rId32"/>
    <p:sldLayoutId id="2147483695" r:id="rId33"/>
    <p:sldLayoutId id="2147483698" r:id="rId34"/>
    <p:sldLayoutId id="2147483714" r:id="rId35"/>
    <p:sldLayoutId id="2147483699" r:id="rId36"/>
    <p:sldLayoutId id="2147483703" r:id="rId37"/>
    <p:sldLayoutId id="2147483706" r:id="rId38"/>
    <p:sldLayoutId id="2147483700" r:id="rId39"/>
    <p:sldLayoutId id="2147483701" r:id="rId40"/>
    <p:sldLayoutId id="2147483707" r:id="rId41"/>
    <p:sldLayoutId id="2147483708" r:id="rId42"/>
    <p:sldLayoutId id="2147483711" r:id="rId43"/>
    <p:sldLayoutId id="2147483715" r:id="rId44"/>
    <p:sldLayoutId id="2147483716" r:id="rId45"/>
    <p:sldLayoutId id="2147483717" r:id="rId46"/>
    <p:sldLayoutId id="2147483718" r:id="rId47"/>
    <p:sldLayoutId id="2147483719" r:id="rId48"/>
    <p:sldLayoutId id="2147483725" r:id="rId49"/>
    <p:sldLayoutId id="2147483727" r:id="rId50"/>
    <p:sldLayoutId id="2147483797" r:id="rId51"/>
  </p:sldLayoutIdLst>
  <p:hf hdr="0" dt="0"/>
  <p:txStyles>
    <p:titleStyle>
      <a:lvl1pPr algn="l" defTabSz="914400" rtl="0" eaLnBrk="1" latinLnBrk="0" hangingPunct="1">
        <a:lnSpc>
          <a:spcPct val="85000"/>
        </a:lnSpc>
        <a:spcBef>
          <a:spcPct val="0"/>
        </a:spcBef>
        <a:buNone/>
        <a:defRPr sz="220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400"/>
        </a:spcBef>
        <a:buFont typeface="Arial" panose="020B0604020202020204" pitchFamily="34" charset="0"/>
        <a:buNone/>
        <a:defRPr sz="18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6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18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1800" b="1" kern="1200">
          <a:solidFill>
            <a:schemeClr val="accent2"/>
          </a:solidFill>
          <a:latin typeface="+mn-lt"/>
          <a:ea typeface="+mn-ea"/>
          <a:cs typeface="+mn-cs"/>
        </a:defRPr>
      </a:lvl6pPr>
      <a:lvl7pPr marL="360363" indent="-360363" algn="l" defTabSz="914400" rtl="0" eaLnBrk="1" latinLnBrk="0" hangingPunct="1">
        <a:lnSpc>
          <a:spcPct val="100000"/>
        </a:lnSpc>
        <a:spcBef>
          <a:spcPts val="400"/>
        </a:spcBef>
        <a:buClr>
          <a:schemeClr val="accent2"/>
        </a:buClr>
        <a:buFont typeface="+mj-lt"/>
        <a:buAutoNum type="arabicPeriod"/>
        <a:defRPr sz="1800" kern="1200">
          <a:solidFill>
            <a:schemeClr val="tx2"/>
          </a:solidFill>
          <a:latin typeface="+mn-lt"/>
          <a:ea typeface="+mn-ea"/>
          <a:cs typeface="+mn-cs"/>
        </a:defRPr>
      </a:lvl7pPr>
      <a:lvl8pPr marL="628650" indent="-268288" algn="l" defTabSz="914400" rtl="0" eaLnBrk="1" latinLnBrk="0" hangingPunct="1">
        <a:lnSpc>
          <a:spcPct val="100000"/>
        </a:lnSpc>
        <a:spcBef>
          <a:spcPts val="400"/>
        </a:spcBef>
        <a:buClr>
          <a:schemeClr val="accent2"/>
        </a:buClr>
        <a:buFont typeface="+mj-lt"/>
        <a:buAutoNum type="alphaLcPeriod"/>
        <a:defRPr sz="1600" kern="1200">
          <a:solidFill>
            <a:schemeClr val="tx2"/>
          </a:solidFill>
          <a:latin typeface="+mn-lt"/>
          <a:ea typeface="+mn-ea"/>
          <a:cs typeface="+mn-cs"/>
        </a:defRPr>
      </a:lvl8pPr>
      <a:lvl9pPr marL="0" indent="0" algn="l" defTabSz="914400" rtl="0" eaLnBrk="1" latinLnBrk="0" hangingPunct="1">
        <a:lnSpc>
          <a:spcPct val="100000"/>
        </a:lnSpc>
        <a:spcBef>
          <a:spcPts val="400"/>
        </a:spcBef>
        <a:buFont typeface="Arial" panose="020B0604020202020204" pitchFamily="34" charset="0"/>
        <a:buNone/>
        <a:defRPr sz="1800" i="1" kern="1200">
          <a:solidFill>
            <a:schemeClr val="tx2"/>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notesSlide" Target="../notesSlides/notesSlide10.xml"/><Relationship Id="rId7" Type="http://schemas.openxmlformats.org/officeDocument/2006/relationships/image" Target="../media/image12.png"/><Relationship Id="rId2" Type="http://schemas.openxmlformats.org/officeDocument/2006/relationships/slideLayout" Target="../slideLayouts/slideLayout15.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notesSlide" Target="../notesSlides/notesSlide17.xml"/><Relationship Id="rId9" Type="http://schemas.openxmlformats.org/officeDocument/2006/relationships/image" Target="../media/image13.svg"/></Relationships>
</file>

<file path=ppt/slides/_rels/slide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notesSlide" Target="../notesSlides/notesSlide18.xml"/><Relationship Id="rId9" Type="http://schemas.openxmlformats.org/officeDocument/2006/relationships/image" Target="../media/image13.svg"/></Relationships>
</file>

<file path=ppt/slides/_rels/slide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xml"/><Relationship Id="rId1" Type="http://schemas.openxmlformats.org/officeDocument/2006/relationships/tags" Target="../tags/tag10.xml"/></Relationships>
</file>

<file path=ppt/slides/_rels/slide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1.xml"/><Relationship Id="rId1" Type="http://schemas.openxmlformats.org/officeDocument/2006/relationships/slideLayout" Target="../slideLayouts/slideLayout24.xml"/><Relationship Id="rId5" Type="http://schemas.openxmlformats.org/officeDocument/2006/relationships/image" Target="../media/image5.png"/><Relationship Id="rId4" Type="http://schemas.openxmlformats.org/officeDocument/2006/relationships/hyperlink" Target="mailto:Linda.brosens.rw@uantwerpen"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xml"/><Relationship Id="rId7" Type="http://schemas.openxmlformats.org/officeDocument/2006/relationships/image" Target="../media/image9.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notesSlide" Target="../notesSlides/notesSlide7.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view of the earth from space&#10;&#10;Description automatically generated with low confidence">
            <a:extLst>
              <a:ext uri="{FF2B5EF4-FFF2-40B4-BE49-F238E27FC236}">
                <a16:creationId xmlns:a16="http://schemas.microsoft.com/office/drawing/2014/main" id="{95E3E1F7-4079-2679-279B-A3E6AA0D41D7}"/>
              </a:ext>
            </a:extLst>
          </p:cNvPr>
          <p:cNvPicPr>
            <a:picLocks noGrp="1" noChangeAspect="1"/>
          </p:cNvPicPr>
          <p:nvPr>
            <p:ph type="pic" sz="quarter" idx="13"/>
          </p:nvPr>
        </p:nvPicPr>
        <p:blipFill>
          <a:blip r:embed="rId3"/>
          <a:srcRect t="30" b="30"/>
          <a:stretch>
            <a:fillRect/>
          </a:stretch>
        </p:blipFill>
        <p:spPr/>
      </p:pic>
      <p:sp>
        <p:nvSpPr>
          <p:cNvPr id="7" name="Text Placeholder 6">
            <a:extLst>
              <a:ext uri="{FF2B5EF4-FFF2-40B4-BE49-F238E27FC236}">
                <a16:creationId xmlns:a16="http://schemas.microsoft.com/office/drawing/2014/main" id="{D05FB7C7-2C2D-A453-2859-6C4897AF06D2}"/>
              </a:ext>
            </a:extLst>
          </p:cNvPr>
          <p:cNvSpPr>
            <a:spLocks noGrp="1"/>
          </p:cNvSpPr>
          <p:nvPr>
            <p:ph type="body" sz="quarter" idx="14"/>
          </p:nvPr>
        </p:nvSpPr>
        <p:spPr>
          <a:xfrm>
            <a:off x="730675" y="5506082"/>
            <a:ext cx="3169081" cy="415498"/>
          </a:xfrm>
        </p:spPr>
        <p:txBody>
          <a:bodyPr/>
          <a:lstStyle/>
          <a:p>
            <a:r>
              <a:rPr lang="en-US" dirty="0"/>
              <a:t>Linda Brosens</a:t>
            </a:r>
          </a:p>
          <a:p>
            <a:endParaRPr lang="en-US" dirty="0"/>
          </a:p>
          <a:p>
            <a:r>
              <a:rPr lang="en-US" dirty="0"/>
              <a:t>General reporter: Prof. Dr. Joao Félix Pinto Nogueira</a:t>
            </a:r>
            <a:endParaRPr lang="en-NL" dirty="0"/>
          </a:p>
        </p:txBody>
      </p:sp>
      <p:sp>
        <p:nvSpPr>
          <p:cNvPr id="5" name="Text Placeholder 4">
            <a:extLst>
              <a:ext uri="{FF2B5EF4-FFF2-40B4-BE49-F238E27FC236}">
                <a16:creationId xmlns:a16="http://schemas.microsoft.com/office/drawing/2014/main" id="{8CDB243D-493B-89E3-7FFE-9F657FA64E2C}"/>
              </a:ext>
            </a:extLst>
          </p:cNvPr>
          <p:cNvSpPr>
            <a:spLocks noGrp="1"/>
          </p:cNvSpPr>
          <p:nvPr>
            <p:ph type="body" sz="quarter" idx="18"/>
          </p:nvPr>
        </p:nvSpPr>
        <p:spPr>
          <a:xfrm>
            <a:off x="730674" y="1410467"/>
            <a:ext cx="1836934" cy="184666"/>
          </a:xfrm>
        </p:spPr>
        <p:txBody>
          <a:bodyPr/>
          <a:lstStyle/>
          <a:p>
            <a:r>
              <a:rPr lang="en-GB" dirty="0"/>
              <a:t>12 November 2024</a:t>
            </a:r>
          </a:p>
        </p:txBody>
      </p:sp>
      <p:sp>
        <p:nvSpPr>
          <p:cNvPr id="6" name="Title 5">
            <a:extLst>
              <a:ext uri="{FF2B5EF4-FFF2-40B4-BE49-F238E27FC236}">
                <a16:creationId xmlns:a16="http://schemas.microsoft.com/office/drawing/2014/main" id="{69AD915C-CF5E-CDE6-F81C-989B9A1F2579}"/>
              </a:ext>
            </a:extLst>
          </p:cNvPr>
          <p:cNvSpPr>
            <a:spLocks noGrp="1"/>
          </p:cNvSpPr>
          <p:nvPr>
            <p:ph type="title"/>
          </p:nvPr>
        </p:nvSpPr>
        <p:spPr>
          <a:xfrm>
            <a:off x="730675" y="1918809"/>
            <a:ext cx="3169082" cy="2513509"/>
          </a:xfrm>
        </p:spPr>
        <p:txBody>
          <a:bodyPr/>
          <a:lstStyle/>
          <a:p>
            <a:r>
              <a:rPr lang="en-US" dirty="0"/>
              <a:t>Residence for corporate income tax purposes – Belgian branch report</a:t>
            </a:r>
            <a:br>
              <a:rPr lang="en-US" dirty="0"/>
            </a:br>
            <a:br>
              <a:rPr lang="en-US" dirty="0"/>
            </a:br>
            <a:r>
              <a:rPr lang="en-US" dirty="0"/>
              <a:t>IFA Congress 2025 Lisbon, Portugal</a:t>
            </a:r>
            <a:endParaRPr lang="en-GB" dirty="0"/>
          </a:p>
        </p:txBody>
      </p:sp>
      <p:pic>
        <p:nvPicPr>
          <p:cNvPr id="2" name="Picture 1">
            <a:extLst>
              <a:ext uri="{FF2B5EF4-FFF2-40B4-BE49-F238E27FC236}">
                <a16:creationId xmlns:a16="http://schemas.microsoft.com/office/drawing/2014/main" id="{2DC3F5DF-2B07-0654-1661-032EDC272660}"/>
              </a:ext>
            </a:extLst>
          </p:cNvPr>
          <p:cNvPicPr>
            <a:picLocks noChangeAspect="1"/>
          </p:cNvPicPr>
          <p:nvPr/>
        </p:nvPicPr>
        <p:blipFill>
          <a:blip r:embed="rId4"/>
          <a:stretch>
            <a:fillRect/>
          </a:stretch>
        </p:blipFill>
        <p:spPr>
          <a:xfrm>
            <a:off x="3028384" y="201884"/>
            <a:ext cx="2220686" cy="568176"/>
          </a:xfrm>
          <a:prstGeom prst="rect">
            <a:avLst/>
          </a:prstGeom>
        </p:spPr>
      </p:pic>
    </p:spTree>
    <p:extLst>
      <p:ext uri="{BB962C8B-B14F-4D97-AF65-F5344CB8AC3E}">
        <p14:creationId xmlns:p14="http://schemas.microsoft.com/office/powerpoint/2010/main" val="3067206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2575064"/>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Weight given to these various elements differ depending on type of activity and size of company:</a:t>
            </a:r>
          </a:p>
          <a:p>
            <a:pPr marL="508000" lvl="1" indent="-285750">
              <a:spcAft>
                <a:spcPts val="600"/>
              </a:spcAft>
              <a:buClr>
                <a:srgbClr val="00B0F0"/>
              </a:buClr>
            </a:pPr>
            <a:r>
              <a:rPr lang="en-BE" sz="1400" dirty="0">
                <a:solidFill>
                  <a:schemeClr val="bg2"/>
                </a:solidFill>
                <a:latin typeface="Arial" panose="020B0604020202020204" pitchFamily="34" charset="0"/>
              </a:rPr>
              <a:t>Place where board of directors meets is traditionally  important; where decisions are prepared or executed in principle not relevant.</a:t>
            </a:r>
          </a:p>
          <a:p>
            <a:pPr marL="508000" lvl="1" indent="-285750">
              <a:spcAft>
                <a:spcPts val="600"/>
              </a:spcAft>
              <a:buClr>
                <a:srgbClr val="00B0F0"/>
              </a:buClr>
            </a:pPr>
            <a:r>
              <a:rPr lang="nl-BE" sz="1400" dirty="0">
                <a:solidFill>
                  <a:schemeClr val="bg2"/>
                </a:solidFill>
                <a:latin typeface="Arial" panose="020B0604020202020204" pitchFamily="34" charset="0"/>
              </a:rPr>
              <a:t>Online meetings, meetings in </a:t>
            </a:r>
            <a:r>
              <a:rPr lang="nl-BE" sz="1400" dirty="0" err="1">
                <a:solidFill>
                  <a:schemeClr val="bg2"/>
                </a:solidFill>
                <a:latin typeface="Arial" panose="020B0604020202020204" pitchFamily="34" charset="0"/>
              </a:rPr>
              <a:t>writing</a:t>
            </a:r>
            <a:r>
              <a:rPr lang="nl-BE" sz="1400" dirty="0">
                <a:solidFill>
                  <a:schemeClr val="bg2"/>
                </a:solidFill>
                <a:latin typeface="Arial" panose="020B0604020202020204" pitchFamily="34" charset="0"/>
              </a:rPr>
              <a:t> or held at different </a:t>
            </a:r>
            <a:r>
              <a:rPr lang="nl-BE" sz="1400" dirty="0" err="1">
                <a:solidFill>
                  <a:schemeClr val="bg2"/>
                </a:solidFill>
                <a:latin typeface="Arial" panose="020B0604020202020204" pitchFamily="34" charset="0"/>
              </a:rPr>
              <a:t>locations</a:t>
            </a:r>
            <a:r>
              <a:rPr lang="nl-BE" sz="1400" dirty="0">
                <a:solidFill>
                  <a:schemeClr val="bg2"/>
                </a:solidFill>
                <a:latin typeface="Arial" panose="020B0604020202020204" pitchFamily="34" charset="0"/>
              </a:rPr>
              <a:t>? </a:t>
            </a:r>
            <a:endParaRPr lang="en-BE" sz="1400" dirty="0">
              <a:solidFill>
                <a:schemeClr val="bg2"/>
              </a:solidFill>
              <a:latin typeface="Arial" panose="020B0604020202020204" pitchFamily="34" charset="0"/>
            </a:endParaRPr>
          </a:p>
          <a:p>
            <a:pPr marL="508000" lvl="1" indent="-285750">
              <a:spcAft>
                <a:spcPts val="600"/>
              </a:spcAft>
              <a:buClr>
                <a:srgbClr val="00B0F0"/>
              </a:buClr>
            </a:pPr>
            <a:r>
              <a:rPr lang="nl-BE" sz="1400" dirty="0">
                <a:solidFill>
                  <a:schemeClr val="bg2"/>
                </a:solidFill>
                <a:latin typeface="Arial" panose="020B0604020202020204" pitchFamily="34" charset="0"/>
              </a:rPr>
              <a:t>S</a:t>
            </a:r>
            <a:r>
              <a:rPr lang="en-BE" sz="1400" dirty="0" err="1">
                <a:solidFill>
                  <a:schemeClr val="bg2"/>
                </a:solidFill>
                <a:latin typeface="Arial" panose="020B0604020202020204" pitchFamily="34" charset="0"/>
              </a:rPr>
              <a:t>upervisory</a:t>
            </a:r>
            <a:r>
              <a:rPr lang="en-BE" sz="1400" dirty="0">
                <a:solidFill>
                  <a:schemeClr val="bg2"/>
                </a:solidFill>
                <a:latin typeface="Arial" panose="020B0604020202020204" pitchFamily="34" charset="0"/>
              </a:rPr>
              <a:t> board </a:t>
            </a:r>
            <a:r>
              <a:rPr lang="nl-BE" sz="1400" dirty="0">
                <a:solidFill>
                  <a:schemeClr val="bg2"/>
                </a:solidFill>
                <a:latin typeface="Arial" panose="020B0604020202020204" pitchFamily="34" charset="0"/>
              </a:rPr>
              <a:t>versus</a:t>
            </a:r>
            <a:r>
              <a:rPr lang="en-BE" sz="1400" dirty="0">
                <a:solidFill>
                  <a:schemeClr val="bg2"/>
                </a:solidFill>
                <a:latin typeface="Arial" panose="020B0604020202020204" pitchFamily="34" charset="0"/>
              </a:rPr>
              <a:t> management board</a:t>
            </a:r>
            <a:r>
              <a:rPr lang="nl-BE" sz="1400" dirty="0">
                <a:solidFill>
                  <a:schemeClr val="bg2"/>
                </a:solidFill>
                <a:latin typeface="Arial" panose="020B0604020202020204" pitchFamily="34" charset="0"/>
              </a:rPr>
              <a:t> in</a:t>
            </a:r>
            <a:r>
              <a:rPr lang="en-BE" sz="1400" dirty="0">
                <a:solidFill>
                  <a:schemeClr val="bg2"/>
                </a:solidFill>
                <a:latin typeface="Arial" panose="020B0604020202020204" pitchFamily="34" charset="0"/>
              </a:rPr>
              <a:t> two-tier structure?</a:t>
            </a:r>
          </a:p>
          <a:p>
            <a:pPr marL="508000" lvl="1" indent="-285750">
              <a:spcAft>
                <a:spcPts val="600"/>
              </a:spcAft>
              <a:buClr>
                <a:srgbClr val="00B0F0"/>
              </a:buClr>
            </a:pPr>
            <a:r>
              <a:rPr lang="en-BE" sz="1400" dirty="0">
                <a:solidFill>
                  <a:schemeClr val="bg2"/>
                </a:solidFill>
                <a:latin typeface="Arial" panose="020B0604020202020204" pitchFamily="34" charset="0"/>
              </a:rPr>
              <a:t>Board meetings not relevant if no evidence of meetings is provided or single director/shareholder takes decisions: often also day-to-day management considered in these cases</a:t>
            </a:r>
            <a:r>
              <a:rPr lang="nl-BE" sz="1400" dirty="0">
                <a:solidFill>
                  <a:schemeClr val="bg2"/>
                </a:solidFill>
                <a:latin typeface="Arial" panose="020B0604020202020204" pitchFamily="34" charset="0"/>
              </a:rPr>
              <a:t> </a:t>
            </a:r>
            <a:endParaRPr lang="en-BE" sz="1400" dirty="0">
              <a:solidFill>
                <a:schemeClr val="bg2"/>
              </a:solidFill>
              <a:highlight>
                <a:srgbClr val="FFFF00"/>
              </a:highlight>
              <a:latin typeface="Arial" panose="020B0604020202020204" pitchFamily="34" charset="0"/>
            </a:endParaRP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principal establishment </a:t>
            </a:r>
            <a:endParaRPr sz="2400" dirty="0"/>
          </a:p>
        </p:txBody>
      </p:sp>
      <p:pic>
        <p:nvPicPr>
          <p:cNvPr id="13" name="Picture Placeholder 12" descr="A long conference table with chairs in a room&#10;&#10;Description automatically generated">
            <a:extLst>
              <a:ext uri="{FF2B5EF4-FFF2-40B4-BE49-F238E27FC236}">
                <a16:creationId xmlns:a16="http://schemas.microsoft.com/office/drawing/2014/main" id="{62F0EAA3-3553-BD6A-AA66-5BAB2666E380}"/>
              </a:ext>
            </a:extLst>
          </p:cNvPr>
          <p:cNvPicPr>
            <a:picLocks noGrp="1" noChangeAspect="1"/>
          </p:cNvPicPr>
          <p:nvPr>
            <p:ph type="pic" sz="quarter" idx="13"/>
          </p:nvPr>
        </p:nvPicPr>
        <p:blipFill>
          <a:blip r:embed="rId3"/>
          <a:srcRect l="22812" r="22812"/>
          <a:stretch>
            <a:fillRect/>
          </a:stretch>
        </p:blipFill>
        <p:spPr/>
      </p:pic>
    </p:spTree>
    <p:extLst>
      <p:ext uri="{BB962C8B-B14F-4D97-AF65-F5344CB8AC3E}">
        <p14:creationId xmlns:p14="http://schemas.microsoft.com/office/powerpoint/2010/main" val="1873174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836948"/>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Basic principles of </a:t>
            </a:r>
            <a:r>
              <a:rPr lang="en-BE" b="1" dirty="0">
                <a:solidFill>
                  <a:schemeClr val="bg2"/>
                </a:solidFill>
                <a:latin typeface="Arial" panose="020B0604020202020204" pitchFamily="34" charset="0"/>
              </a:rPr>
              <a:t>burden of proof </a:t>
            </a:r>
            <a:r>
              <a:rPr lang="en-BE" dirty="0">
                <a:solidFill>
                  <a:schemeClr val="bg2"/>
                </a:solidFill>
                <a:latin typeface="Arial" panose="020B0604020202020204" pitchFamily="34" charset="0"/>
              </a:rPr>
              <a:t>under civil law apply (art 8.4-8.6 Civil Code)</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f Belgian tax authorities claim that a company having statutory seat abroad is Belgian tax resident, factual elements will have to be presented to support </a:t>
            </a:r>
            <a:r>
              <a:rPr lang="nl-BE" dirty="0">
                <a:solidFill>
                  <a:schemeClr val="bg2"/>
                </a:solidFill>
                <a:latin typeface="Arial" panose="020B0604020202020204" pitchFamily="34" charset="0"/>
              </a:rPr>
              <a:t>t</a:t>
            </a:r>
            <a:r>
              <a:rPr lang="en-BE" dirty="0">
                <a:solidFill>
                  <a:schemeClr val="bg2"/>
                </a:solidFill>
                <a:latin typeface="Arial" panose="020B0604020202020204" pitchFamily="34" charset="0"/>
              </a:rPr>
              <a:t>his claim. </a:t>
            </a:r>
            <a:endParaRPr lang="nl-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f taxpayer claims that a company is a tax resident in a foreign jurisdiction, facts must be presented that give rise to ta</a:t>
            </a:r>
            <a:r>
              <a:rPr lang="nl-BE" dirty="0">
                <a:solidFill>
                  <a:schemeClr val="bg2"/>
                </a:solidFill>
                <a:latin typeface="Arial" panose="020B0604020202020204" pitchFamily="34" charset="0"/>
              </a:rPr>
              <a:t>x</a:t>
            </a:r>
            <a:r>
              <a:rPr lang="en-BE" dirty="0">
                <a:solidFill>
                  <a:schemeClr val="bg2"/>
                </a:solidFill>
                <a:latin typeface="Arial" panose="020B0604020202020204" pitchFamily="34" charset="0"/>
              </a:rPr>
              <a:t> residency according to foreign law</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Legal value tax </a:t>
            </a:r>
            <a:r>
              <a:rPr lang="en-BE" b="1" dirty="0">
                <a:solidFill>
                  <a:schemeClr val="bg2"/>
                </a:solidFill>
                <a:latin typeface="Arial" panose="020B0604020202020204" pitchFamily="34" charset="0"/>
              </a:rPr>
              <a:t>residence certificate </a:t>
            </a:r>
            <a:r>
              <a:rPr lang="en-BE" dirty="0">
                <a:solidFill>
                  <a:schemeClr val="bg2"/>
                </a:solidFill>
                <a:latin typeface="Arial" panose="020B0604020202020204" pitchFamily="34" charset="0"/>
              </a:rPr>
              <a:t>issued by foreign tax authority? </a:t>
            </a: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principal establishment </a:t>
            </a:r>
            <a:endParaRPr sz="2400" dirty="0"/>
          </a:p>
        </p:txBody>
      </p:sp>
      <p:grpSp>
        <p:nvGrpSpPr>
          <p:cNvPr id="17" name="Group 16">
            <a:extLst>
              <a:ext uri="{FF2B5EF4-FFF2-40B4-BE49-F238E27FC236}">
                <a16:creationId xmlns:a16="http://schemas.microsoft.com/office/drawing/2014/main" id="{273B2370-45D6-CB42-249F-6AEF1635998B}"/>
              </a:ext>
            </a:extLst>
          </p:cNvPr>
          <p:cNvGrpSpPr/>
          <p:nvPr/>
        </p:nvGrpSpPr>
        <p:grpSpPr>
          <a:xfrm>
            <a:off x="7032172" y="805543"/>
            <a:ext cx="4901284" cy="5755594"/>
            <a:chOff x="7032172" y="805543"/>
            <a:chExt cx="4901284" cy="5755594"/>
          </a:xfrm>
        </p:grpSpPr>
        <p:grpSp>
          <p:nvGrpSpPr>
            <p:cNvPr id="2" name="Groep 3">
              <a:extLst>
                <a:ext uri="{FF2B5EF4-FFF2-40B4-BE49-F238E27FC236}">
                  <a16:creationId xmlns:a16="http://schemas.microsoft.com/office/drawing/2014/main" id="{16E6CCBD-DF7F-645A-3D48-81A1D21EBF76}"/>
                </a:ext>
              </a:extLst>
            </p:cNvPr>
            <p:cNvGrpSpPr/>
            <p:nvPr/>
          </p:nvGrpSpPr>
          <p:grpSpPr>
            <a:xfrm>
              <a:off x="7032172" y="805543"/>
              <a:ext cx="4901284" cy="5755594"/>
              <a:chOff x="263526" y="987576"/>
              <a:chExt cx="5545134" cy="5249712"/>
            </a:xfrm>
          </p:grpSpPr>
          <p:sp>
            <p:nvSpPr>
              <p:cNvPr id="5" name="Text Box 8">
                <a:extLst>
                  <a:ext uri="{FF2B5EF4-FFF2-40B4-BE49-F238E27FC236}">
                    <a16:creationId xmlns:a16="http://schemas.microsoft.com/office/drawing/2014/main" id="{B6F443B4-BA43-5010-447B-C53B7B6723FD}"/>
                  </a:ext>
                </a:extLst>
              </p:cNvPr>
              <p:cNvSpPr txBox="1">
                <a:spLocks/>
              </p:cNvSpPr>
              <p:nvPr/>
            </p:nvSpPr>
            <p:spPr>
              <a:xfrm>
                <a:off x="263526"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 name="Graphic 9">
                <a:extLst>
                  <a:ext uri="{FF2B5EF4-FFF2-40B4-BE49-F238E27FC236}">
                    <a16:creationId xmlns:a16="http://schemas.microsoft.com/office/drawing/2014/main" id="{153DE132-16A8-F53C-0B46-CC1DE7D951A3}"/>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grpSp>
          <p:nvGrpSpPr>
            <p:cNvPr id="15" name="Group 14">
              <a:extLst>
                <a:ext uri="{FF2B5EF4-FFF2-40B4-BE49-F238E27FC236}">
                  <a16:creationId xmlns:a16="http://schemas.microsoft.com/office/drawing/2014/main" id="{B1D50806-F2B1-EA55-8CE2-9CECE60974C2}"/>
                </a:ext>
              </a:extLst>
            </p:cNvPr>
            <p:cNvGrpSpPr/>
            <p:nvPr/>
          </p:nvGrpSpPr>
          <p:grpSpPr>
            <a:xfrm>
              <a:off x="7552754" y="1141964"/>
              <a:ext cx="4094624" cy="2864817"/>
              <a:chOff x="7552754" y="1141964"/>
              <a:chExt cx="4094624" cy="2864817"/>
            </a:xfrm>
          </p:grpSpPr>
          <p:grpSp>
            <p:nvGrpSpPr>
              <p:cNvPr id="14" name="Group 13">
                <a:extLst>
                  <a:ext uri="{FF2B5EF4-FFF2-40B4-BE49-F238E27FC236}">
                    <a16:creationId xmlns:a16="http://schemas.microsoft.com/office/drawing/2014/main" id="{D39C7E14-8BCF-FEBF-8153-9F9274FF9557}"/>
                  </a:ext>
                </a:extLst>
              </p:cNvPr>
              <p:cNvGrpSpPr/>
              <p:nvPr/>
            </p:nvGrpSpPr>
            <p:grpSpPr>
              <a:xfrm>
                <a:off x="7552754" y="1141964"/>
                <a:ext cx="4094624" cy="2864817"/>
                <a:chOff x="7638937" y="1013732"/>
                <a:chExt cx="4094624" cy="2864817"/>
              </a:xfrm>
            </p:grpSpPr>
            <p:sp>
              <p:nvSpPr>
                <p:cNvPr id="6" name="Rectangle 120">
                  <a:extLst>
                    <a:ext uri="{FF2B5EF4-FFF2-40B4-BE49-F238E27FC236}">
                      <a16:creationId xmlns:a16="http://schemas.microsoft.com/office/drawing/2014/main" id="{A834FC14-8655-5EA0-C866-FA4A96F1F420}"/>
                    </a:ext>
                  </a:extLst>
                </p:cNvPr>
                <p:cNvSpPr>
                  <a:spLocks noChangeArrowheads="1"/>
                </p:cNvSpPr>
                <p:nvPr>
                  <p:custDataLst>
                    <p:tags r:id="rId1"/>
                  </p:custDataLst>
                </p:nvPr>
              </p:nvSpPr>
              <p:spPr bwMode="auto">
                <a:xfrm>
                  <a:off x="8980092" y="3209205"/>
                  <a:ext cx="1412314" cy="669344"/>
                </a:xfrm>
                <a:prstGeom prst="rect">
                  <a:avLst/>
                </a:prstGeom>
                <a:solidFill>
                  <a:schemeClr val="accent1"/>
                </a:solidFill>
                <a:ln>
                  <a:no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Hong Kong</a:t>
                  </a:r>
                </a:p>
              </p:txBody>
            </p:sp>
            <p:pic>
              <p:nvPicPr>
                <p:cNvPr id="9" name="Graphic 8" descr="User with solid fill">
                  <a:extLst>
                    <a:ext uri="{FF2B5EF4-FFF2-40B4-BE49-F238E27FC236}">
                      <a16:creationId xmlns:a16="http://schemas.microsoft.com/office/drawing/2014/main" id="{31134D08-D3A5-6F08-E358-0CB447760C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9049" y="1013732"/>
                  <a:ext cx="914400" cy="914400"/>
                </a:xfrm>
                <a:prstGeom prst="rect">
                  <a:avLst/>
                </a:prstGeom>
              </p:spPr>
            </p:pic>
            <p:cxnSp>
              <p:nvCxnSpPr>
                <p:cNvPr id="49" name="Straight Connector 48">
                  <a:extLst>
                    <a:ext uri="{FF2B5EF4-FFF2-40B4-BE49-F238E27FC236}">
                      <a16:creationId xmlns:a16="http://schemas.microsoft.com/office/drawing/2014/main" id="{AA0931D2-60DF-7375-A4B4-5E0C795194CD}"/>
                    </a:ext>
                  </a:extLst>
                </p:cNvPr>
                <p:cNvCxnSpPr/>
                <p:nvPr/>
              </p:nvCxnSpPr>
              <p:spPr>
                <a:xfrm>
                  <a:off x="7638937" y="2492828"/>
                  <a:ext cx="409462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948AB6-F64B-4489-ADD3-2A1E2C23BA96}"/>
                    </a:ext>
                  </a:extLst>
                </p:cNvPr>
                <p:cNvCxnSpPr/>
                <p:nvPr/>
              </p:nvCxnSpPr>
              <p:spPr>
                <a:xfrm>
                  <a:off x="9686249" y="1928132"/>
                  <a:ext cx="0" cy="128107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3E09930-46C1-3472-5027-14962929E939}"/>
                    </a:ext>
                  </a:extLst>
                </p:cNvPr>
                <p:cNvPicPr>
                  <a:picLocks noChangeAspect="1"/>
                </p:cNvPicPr>
                <p:nvPr/>
              </p:nvPicPr>
              <p:blipFill>
                <a:blip r:embed="rId6"/>
                <a:stretch>
                  <a:fillRect/>
                </a:stretch>
              </p:blipFill>
              <p:spPr>
                <a:xfrm>
                  <a:off x="11437610" y="2062505"/>
                  <a:ext cx="295951" cy="295951"/>
                </a:xfrm>
                <a:prstGeom prst="rect">
                  <a:avLst/>
                </a:prstGeom>
              </p:spPr>
            </p:pic>
          </p:grpSp>
          <p:pic>
            <p:nvPicPr>
              <p:cNvPr id="16" name="Graphic 15" descr="Work from home desk with solid fill">
                <a:extLst>
                  <a:ext uri="{FF2B5EF4-FFF2-40B4-BE49-F238E27FC236}">
                    <a16:creationId xmlns:a16="http://schemas.microsoft.com/office/drawing/2014/main" id="{6D0D76BD-880D-15BF-4137-228CB47587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67258" y="1333343"/>
                <a:ext cx="664028" cy="664028"/>
              </a:xfrm>
              <a:prstGeom prst="rect">
                <a:avLst/>
              </a:prstGeom>
            </p:spPr>
          </p:pic>
        </p:grpSp>
        <p:sp>
          <p:nvSpPr>
            <p:cNvPr id="10" name="Prostokąt zaokrąglony">
              <a:extLst>
                <a:ext uri="{FF2B5EF4-FFF2-40B4-BE49-F238E27FC236}">
                  <a16:creationId xmlns:a16="http://schemas.microsoft.com/office/drawing/2014/main" id="{104E3980-ED46-163F-5756-4581D017F51F}"/>
                </a:ext>
              </a:extLst>
            </p:cNvPr>
            <p:cNvSpPr/>
            <p:nvPr/>
          </p:nvSpPr>
          <p:spPr>
            <a:xfrm>
              <a:off x="7141090" y="4533162"/>
              <a:ext cx="4683447" cy="1926413"/>
            </a:xfrm>
            <a:prstGeom prst="roundRect">
              <a:avLst>
                <a:gd name="adj" fmla="val 2148"/>
              </a:avLst>
            </a:prstGeom>
            <a:solidFill>
              <a:schemeClr val="bg1"/>
            </a:solidFill>
            <a:ln w="9525" cap="flat">
              <a:solidFill>
                <a:schemeClr val="accent1"/>
              </a:solidFill>
              <a:prstDash val="sysDot"/>
              <a:round/>
            </a:ln>
            <a:effectLst/>
          </p:spPr>
          <p:txBody>
            <a:bodyPr wrap="square" lIns="72000" tIns="72000" rIns="72000" bIns="72000" numCol="1"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BE" sz="1100" b="1" dirty="0">
                  <a:solidFill>
                    <a:schemeClr val="accent2"/>
                  </a:solidFill>
                  <a:latin typeface="+mj-lt"/>
                </a:rPr>
                <a:t>WEST-VLAANDEREN 19 JUNE 20</a:t>
              </a:r>
              <a:r>
                <a:rPr lang="nl-BE" sz="1100" b="1" dirty="0">
                  <a:solidFill>
                    <a:schemeClr val="accent2"/>
                  </a:solidFill>
                  <a:latin typeface="+mj-lt"/>
                </a:rPr>
                <a:t>19</a:t>
              </a:r>
            </a:p>
            <a:p>
              <a:endParaRPr lang="en-BE" sz="1100" b="1" dirty="0">
                <a:solidFill>
                  <a:schemeClr val="accent2"/>
                </a:solidFill>
                <a:latin typeface="+mj-lt"/>
              </a:endParaRPr>
            </a:p>
            <a:p>
              <a:pPr marL="342900" indent="-342900" algn="just">
                <a:buFont typeface="Wingdings" panose="05000000000000000000" pitchFamily="2" charset="2"/>
                <a:buChar char="§"/>
              </a:pPr>
              <a:r>
                <a:rPr lang="en-BE" sz="900" dirty="0">
                  <a:solidFill>
                    <a:schemeClr val="bg2"/>
                  </a:solidFill>
                  <a:latin typeface="+mj-lt"/>
                </a:rPr>
                <a:t>Honk Kong company owned by Belgian shareholder who acts as director </a:t>
              </a:r>
            </a:p>
            <a:p>
              <a:pPr marL="342900" indent="-342900" algn="just">
                <a:buFont typeface="Wingdings" panose="05000000000000000000" pitchFamily="2" charset="2"/>
                <a:buChar char="§"/>
              </a:pPr>
              <a:r>
                <a:rPr lang="en-BE" sz="900" dirty="0">
                  <a:solidFill>
                    <a:schemeClr val="bg2"/>
                  </a:solidFill>
                  <a:latin typeface="+mj-lt"/>
                </a:rPr>
                <a:t>No expenses, only service fee to </a:t>
              </a:r>
              <a:r>
                <a:rPr lang="nl-BE" sz="900" dirty="0">
                  <a:solidFill>
                    <a:schemeClr val="bg2"/>
                  </a:solidFill>
                  <a:latin typeface="+mj-lt"/>
                </a:rPr>
                <a:t>t</a:t>
              </a:r>
              <a:r>
                <a:rPr lang="en-BE" sz="900" dirty="0">
                  <a:solidFill>
                    <a:schemeClr val="bg2"/>
                  </a:solidFill>
                  <a:latin typeface="+mj-lt"/>
                </a:rPr>
                <a:t>rust office</a:t>
              </a:r>
            </a:p>
            <a:p>
              <a:pPr marL="342900" indent="-342900" algn="just">
                <a:buFont typeface="Wingdings" panose="05000000000000000000" pitchFamily="2" charset="2"/>
                <a:buChar char="§"/>
              </a:pPr>
              <a:r>
                <a:rPr lang="en-BE" sz="900" dirty="0">
                  <a:solidFill>
                    <a:schemeClr val="bg2"/>
                  </a:solidFill>
                  <a:latin typeface="+mj-lt"/>
                </a:rPr>
                <a:t>In Belgium shareholder has</a:t>
              </a:r>
              <a:r>
                <a:rPr lang="nl-BE" sz="900" dirty="0">
                  <a:solidFill>
                    <a:schemeClr val="bg2"/>
                  </a:solidFill>
                  <a:latin typeface="+mj-lt"/>
                </a:rPr>
                <a:t> office</a:t>
              </a:r>
              <a:r>
                <a:rPr lang="en-BE" sz="900" dirty="0">
                  <a:solidFill>
                    <a:schemeClr val="bg2"/>
                  </a:solidFill>
                  <a:latin typeface="+mj-lt"/>
                </a:rPr>
                <a:t> available </a:t>
              </a:r>
              <a:r>
                <a:rPr lang="nl-BE" sz="900" dirty="0">
                  <a:solidFill>
                    <a:schemeClr val="bg2"/>
                  </a:solidFill>
                  <a:latin typeface="+mj-lt"/>
                </a:rPr>
                <a:t>in his home </a:t>
              </a:r>
              <a:r>
                <a:rPr lang="en-BE" sz="900" dirty="0">
                  <a:solidFill>
                    <a:schemeClr val="bg2"/>
                  </a:solidFill>
                  <a:latin typeface="+mj-lt"/>
                </a:rPr>
                <a:t>where family live</a:t>
              </a:r>
              <a:endParaRPr lang="nl-BE" sz="900" dirty="0">
                <a:solidFill>
                  <a:schemeClr val="bg2"/>
                </a:solidFill>
                <a:latin typeface="+mj-lt"/>
              </a:endParaRPr>
            </a:p>
            <a:p>
              <a:pPr marL="342900" indent="-342900" algn="just">
                <a:buFont typeface="Wingdings" panose="05000000000000000000" pitchFamily="2" charset="2"/>
                <a:buChar char="§"/>
              </a:pPr>
              <a:r>
                <a:rPr lang="en-BE" sz="900" dirty="0">
                  <a:solidFill>
                    <a:schemeClr val="bg2"/>
                  </a:solidFill>
                  <a:latin typeface="+mj-lt"/>
                </a:rPr>
                <a:t>No accounts or material  document found in home office</a:t>
              </a:r>
            </a:p>
            <a:p>
              <a:pPr marL="342900" indent="-342900" algn="just">
                <a:buFont typeface="Wingdings" panose="05000000000000000000" pitchFamily="2" charset="2"/>
                <a:buChar char="§"/>
              </a:pPr>
              <a:r>
                <a:rPr lang="en-BE" sz="900" dirty="0">
                  <a:solidFill>
                    <a:schemeClr val="bg2"/>
                  </a:solidFill>
                  <a:latin typeface="+mj-lt"/>
                </a:rPr>
                <a:t>Shareholder travels a lot and performs activities for Honk Kong company mainly from abroad at different location </a:t>
              </a:r>
            </a:p>
            <a:p>
              <a:pPr marL="342900" indent="-342900" algn="just">
                <a:buFont typeface="Wingdings" panose="05000000000000000000" pitchFamily="2" charset="2"/>
                <a:buChar char="§"/>
              </a:pPr>
              <a:r>
                <a:rPr lang="en-BE" sz="900" dirty="0">
                  <a:solidFill>
                    <a:schemeClr val="bg2"/>
                  </a:solidFill>
                  <a:latin typeface="+mj-lt"/>
                </a:rPr>
                <a:t>Tax residence director not decisive as such</a:t>
              </a:r>
            </a:p>
            <a:p>
              <a:pPr marL="342900" indent="-342900" algn="just">
                <a:buFont typeface="Wingdings" panose="05000000000000000000" pitchFamily="2" charset="2"/>
                <a:buChar char="§"/>
              </a:pPr>
              <a:r>
                <a:rPr lang="en-BE" sz="900" dirty="0">
                  <a:solidFill>
                    <a:schemeClr val="bg2"/>
                  </a:solidFill>
                  <a:latin typeface="+mj-lt"/>
                </a:rPr>
                <a:t>Due to mobility shareholder/director it is plausible that management decisions are taken abroad. Not relevant that taxpayer can designate a place of management abroad</a:t>
              </a:r>
            </a:p>
            <a:p>
              <a:pPr marL="342900" indent="-342900" algn="just">
                <a:buFont typeface="Wingdings" panose="05000000000000000000" pitchFamily="2" charset="2"/>
                <a:buChar char="§"/>
              </a:pPr>
              <a:r>
                <a:rPr lang="en-BE" sz="900" dirty="0">
                  <a:solidFill>
                    <a:schemeClr val="bg2"/>
                  </a:solidFill>
                  <a:latin typeface="+mj-lt"/>
                </a:rPr>
                <a:t>Since uncertainty remains, company cannot be considered Belgian tax resident</a:t>
              </a:r>
            </a:p>
            <a:p>
              <a:pPr marL="342900" indent="-342900" algn="just">
                <a:buFont typeface="Wingdings" panose="05000000000000000000" pitchFamily="2" charset="2"/>
                <a:buChar char="§"/>
              </a:pPr>
              <a:endParaRPr lang="en-BE" sz="1800" dirty="0">
                <a:solidFill>
                  <a:schemeClr val="tx2"/>
                </a:solidFill>
              </a:endParaRPr>
            </a:p>
          </p:txBody>
        </p:sp>
      </p:grpSp>
    </p:spTree>
    <p:extLst>
      <p:ext uri="{BB962C8B-B14F-4D97-AF65-F5344CB8AC3E}">
        <p14:creationId xmlns:p14="http://schemas.microsoft.com/office/powerpoint/2010/main" val="1595263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8" descr="A blue screen with a map of the world&#10;&#10;Description automatically generated">
            <a:extLst>
              <a:ext uri="{FF2B5EF4-FFF2-40B4-BE49-F238E27FC236}">
                <a16:creationId xmlns:a16="http://schemas.microsoft.com/office/drawing/2014/main" id="{B93E6675-14EF-A44F-C864-80FDDEDDC7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463" y="773113"/>
            <a:ext cx="11649075" cy="582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D7C2343-2B45-D39D-D9D2-48E859FA9252}"/>
              </a:ext>
            </a:extLst>
          </p:cNvPr>
          <p:cNvSpPr/>
          <p:nvPr/>
        </p:nvSpPr>
        <p:spPr>
          <a:xfrm>
            <a:off x="271463" y="771525"/>
            <a:ext cx="11649075" cy="5827712"/>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fontAlgn="auto" hangingPunct="1">
              <a:spcBef>
                <a:spcPts val="0"/>
              </a:spcBef>
              <a:spcAft>
                <a:spcPts val="0"/>
              </a:spcAft>
              <a:defRPr/>
            </a:pPr>
            <a:endParaRPr lang="en-NL">
              <a:solidFill>
                <a:schemeClr val="bg1"/>
              </a:solidFill>
            </a:endParaRPr>
          </a:p>
        </p:txBody>
      </p:sp>
      <p:sp>
        <p:nvSpPr>
          <p:cNvPr id="96260" name="Text Placeholder 2">
            <a:extLst>
              <a:ext uri="{FF2B5EF4-FFF2-40B4-BE49-F238E27FC236}">
                <a16:creationId xmlns:a16="http://schemas.microsoft.com/office/drawing/2014/main" id="{924C1038-50E3-F92B-9F5A-912DD4B06C37}"/>
              </a:ext>
            </a:extLst>
          </p:cNvPr>
          <p:cNvSpPr txBox="1">
            <a:spLocks noChangeArrowheads="1"/>
          </p:cNvSpPr>
          <p:nvPr/>
        </p:nvSpPr>
        <p:spPr bwMode="auto">
          <a:xfrm>
            <a:off x="819150" y="5434013"/>
            <a:ext cx="7324725" cy="11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tabLst>
                <a:tab pos="6816725" algn="r"/>
              </a:tabLst>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tabLst>
                <a:tab pos="6816725" algn="r"/>
              </a:tabLst>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9pPr>
          </a:lstStyle>
          <a:p>
            <a:pPr>
              <a:lnSpc>
                <a:spcPts val="3600"/>
              </a:lnSpc>
              <a:spcBef>
                <a:spcPct val="0"/>
              </a:spcBef>
            </a:pPr>
            <a:r>
              <a:rPr lang="en-GB" sz="3200" dirty="0">
                <a:solidFill>
                  <a:srgbClr val="FFFFFF"/>
                </a:solidFill>
                <a:latin typeface="+mj-lt"/>
                <a:cs typeface="Calibri" panose="020F0502020204030204" pitchFamily="34" charset="0"/>
              </a:rPr>
              <a:t>The concept of residency for purposes of a DTT</a:t>
            </a:r>
          </a:p>
          <a:p>
            <a:pPr>
              <a:lnSpc>
                <a:spcPts val="3600"/>
              </a:lnSpc>
              <a:spcBef>
                <a:spcPct val="0"/>
              </a:spcBef>
            </a:pPr>
            <a:endParaRPr lang="en-GB" sz="3200" dirty="0">
              <a:solidFill>
                <a:srgbClr val="FFFFFF"/>
              </a:solidFill>
              <a:latin typeface="+mj-lt"/>
              <a:cs typeface="Calibri" panose="020F0502020204030204" pitchFamily="34" charset="0"/>
            </a:endParaRPr>
          </a:p>
          <a:p>
            <a:pPr eaLnBrk="1" hangingPunct="1">
              <a:lnSpc>
                <a:spcPts val="3600"/>
              </a:lnSpc>
              <a:spcBef>
                <a:spcPct val="0"/>
              </a:spcBef>
            </a:pPr>
            <a:endParaRPr lang="en-US" altLang="en-US" sz="3200" dirty="0">
              <a:solidFill>
                <a:schemeClr val="bg1"/>
              </a:solidFill>
              <a:latin typeface="+mj-lt"/>
              <a:cs typeface="Calibri" panose="020F0502020204030204" pitchFamily="34" charset="0"/>
            </a:endParaRPr>
          </a:p>
        </p:txBody>
      </p:sp>
      <p:sp>
        <p:nvSpPr>
          <p:cNvPr id="96261" name="Text Placeholder 2">
            <a:extLst>
              <a:ext uri="{FF2B5EF4-FFF2-40B4-BE49-F238E27FC236}">
                <a16:creationId xmlns:a16="http://schemas.microsoft.com/office/drawing/2014/main" id="{D83D2935-D9A3-74BD-96C6-1325D58471D4}"/>
              </a:ext>
            </a:extLst>
          </p:cNvPr>
          <p:cNvSpPr txBox="1">
            <a:spLocks noChangeArrowheads="1"/>
          </p:cNvSpPr>
          <p:nvPr/>
        </p:nvSpPr>
        <p:spPr bwMode="auto">
          <a:xfrm>
            <a:off x="819150" y="4803775"/>
            <a:ext cx="990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9pPr>
          </a:lstStyle>
          <a:p>
            <a:pPr eaLnBrk="1" hangingPunct="1">
              <a:lnSpc>
                <a:spcPts val="3400"/>
              </a:lnSpc>
              <a:spcBef>
                <a:spcPct val="0"/>
              </a:spcBef>
            </a:pPr>
            <a:r>
              <a:rPr lang="en-US" altLang="en-US" sz="3400">
                <a:solidFill>
                  <a:schemeClr val="bg1"/>
                </a:solidFill>
                <a:latin typeface="Arial Black" panose="020B0A04020102020204" pitchFamily="34" charset="0"/>
                <a:cs typeface="Calibri" panose="020F0502020204030204" pitchFamily="34" charset="0"/>
              </a:rPr>
              <a:t>3.</a:t>
            </a:r>
            <a:endParaRPr lang="en-GB" altLang="en-US" sz="340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1D9F5789-C97A-C850-AE5B-A59B91322E48}"/>
              </a:ext>
            </a:extLst>
          </p:cNvPr>
          <p:cNvPicPr>
            <a:picLocks noChangeAspect="1"/>
          </p:cNvPicPr>
          <p:nvPr/>
        </p:nvPicPr>
        <p:blipFill>
          <a:blip r:embed="rId3"/>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336970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282950"/>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Most DTT concluded by BE following wording OECD MC</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n 27 </a:t>
            </a:r>
            <a:r>
              <a:rPr lang="en-BE" dirty="0" err="1">
                <a:solidFill>
                  <a:schemeClr val="bg2"/>
                </a:solidFill>
                <a:latin typeface="Arial" panose="020B0604020202020204" pitchFamily="34" charset="0"/>
              </a:rPr>
              <a:t>DTTs</a:t>
            </a:r>
            <a:r>
              <a:rPr lang="en-BE" dirty="0">
                <a:solidFill>
                  <a:schemeClr val="bg2"/>
                </a:solidFill>
                <a:latin typeface="Arial" panose="020B0604020202020204" pitchFamily="34" charset="0"/>
              </a:rPr>
              <a:t> reference is also made to formal criteria (e.g. DTT concluded with Argentina, China, UK, US) </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ertain </a:t>
            </a:r>
            <a:r>
              <a:rPr lang="en-BE" dirty="0" err="1">
                <a:solidFill>
                  <a:schemeClr val="bg2"/>
                </a:solidFill>
                <a:latin typeface="Arial" panose="020B0604020202020204" pitchFamily="34" charset="0"/>
              </a:rPr>
              <a:t>DTTs</a:t>
            </a:r>
            <a:r>
              <a:rPr lang="en-BE" dirty="0">
                <a:solidFill>
                  <a:schemeClr val="bg2"/>
                </a:solidFill>
                <a:latin typeface="Arial" panose="020B0604020202020204" pitchFamily="34" charset="0"/>
              </a:rPr>
              <a:t> refer to criteria used under national law (e.g. DTT concluded with Ireland) or to national law without referring to criteria used (e.g. DTT concluded with Australia)</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riteria of a similar nature? </a:t>
            </a:r>
          </a:p>
          <a:p>
            <a:pPr>
              <a:spcAft>
                <a:spcPts val="600"/>
              </a:spcAft>
              <a:buClr>
                <a:srgbClr val="00B0F0"/>
              </a:buClr>
            </a:pPr>
            <a:endParaRPr lang="en-BE" dirty="0">
              <a:solidFill>
                <a:schemeClr val="bg2"/>
              </a:solidFill>
              <a:latin typeface="Arial" panose="020B0604020202020204" pitchFamily="34" charset="0"/>
            </a:endParaRP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article 4,§1 OECD Model Convention  </a:t>
            </a:r>
            <a:endParaRPr sz="2400" dirty="0"/>
          </a:p>
        </p:txBody>
      </p:sp>
      <p:grpSp>
        <p:nvGrpSpPr>
          <p:cNvPr id="5" name="Group 4">
            <a:extLst>
              <a:ext uri="{FF2B5EF4-FFF2-40B4-BE49-F238E27FC236}">
                <a16:creationId xmlns:a16="http://schemas.microsoft.com/office/drawing/2014/main" id="{88654292-C3C5-452D-691A-D98C462310D1}"/>
              </a:ext>
            </a:extLst>
          </p:cNvPr>
          <p:cNvGrpSpPr/>
          <p:nvPr/>
        </p:nvGrpSpPr>
        <p:grpSpPr>
          <a:xfrm>
            <a:off x="7027191" y="805543"/>
            <a:ext cx="4901284" cy="5755594"/>
            <a:chOff x="7027191" y="805543"/>
            <a:chExt cx="4901284" cy="5755594"/>
          </a:xfrm>
        </p:grpSpPr>
        <p:grpSp>
          <p:nvGrpSpPr>
            <p:cNvPr id="6" name="Groep 3">
              <a:extLst>
                <a:ext uri="{FF2B5EF4-FFF2-40B4-BE49-F238E27FC236}">
                  <a16:creationId xmlns:a16="http://schemas.microsoft.com/office/drawing/2014/main" id="{3C0D1A31-5B1C-9FB6-11B8-F72547195363}"/>
                </a:ext>
              </a:extLst>
            </p:cNvPr>
            <p:cNvGrpSpPr/>
            <p:nvPr/>
          </p:nvGrpSpPr>
          <p:grpSpPr>
            <a:xfrm>
              <a:off x="7027191" y="805543"/>
              <a:ext cx="4901284" cy="5755594"/>
              <a:chOff x="257891" y="987576"/>
              <a:chExt cx="5545134" cy="5249712"/>
            </a:xfrm>
          </p:grpSpPr>
          <p:sp>
            <p:nvSpPr>
              <p:cNvPr id="18" name="Text Box 8">
                <a:extLst>
                  <a:ext uri="{FF2B5EF4-FFF2-40B4-BE49-F238E27FC236}">
                    <a16:creationId xmlns:a16="http://schemas.microsoft.com/office/drawing/2014/main" id="{579C8148-E6F9-DE6A-47E8-DD167CDC70DF}"/>
                  </a:ext>
                </a:extLst>
              </p:cNvPr>
              <p:cNvSpPr txBox="1">
                <a:spLocks/>
              </p:cNvSpPr>
              <p:nvPr/>
            </p:nvSpPr>
            <p:spPr>
              <a:xfrm>
                <a:off x="257891"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9" name="Graphic 9">
                <a:extLst>
                  <a:ext uri="{FF2B5EF4-FFF2-40B4-BE49-F238E27FC236}">
                    <a16:creationId xmlns:a16="http://schemas.microsoft.com/office/drawing/2014/main" id="{68858C88-5F55-FFCC-62F0-6A4D36F0C2C3}"/>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sp>
          <p:nvSpPr>
            <p:cNvPr id="9" name="Prostokąt zaokrąglony">
              <a:extLst>
                <a:ext uri="{FF2B5EF4-FFF2-40B4-BE49-F238E27FC236}">
                  <a16:creationId xmlns:a16="http://schemas.microsoft.com/office/drawing/2014/main" id="{0CB74F21-70F9-7066-D42A-4F020A46D5DD}"/>
                </a:ext>
              </a:extLst>
            </p:cNvPr>
            <p:cNvSpPr/>
            <p:nvPr/>
          </p:nvSpPr>
          <p:spPr>
            <a:xfrm>
              <a:off x="7141090" y="993574"/>
              <a:ext cx="4683447" cy="5466001"/>
            </a:xfrm>
            <a:prstGeom prst="roundRect">
              <a:avLst>
                <a:gd name="adj" fmla="val 2148"/>
              </a:avLst>
            </a:prstGeom>
            <a:noFill/>
            <a:ln w="9525" cap="flat">
              <a:noFill/>
              <a:prstDash val="sysDot"/>
              <a:round/>
            </a:ln>
            <a:effectLst/>
          </p:spPr>
          <p:txBody>
            <a:bodyPr wrap="square" lIns="72000" tIns="72000" rIns="72000" bIns="72000" numCol="1"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BE" sz="1600" b="1" dirty="0">
                  <a:solidFill>
                    <a:schemeClr val="accent2"/>
                  </a:solidFill>
                  <a:latin typeface="+mj-lt"/>
                </a:rPr>
                <a:t>ARTIKEL 4, §1 OECD MODEL CONVENTION (2017)</a:t>
              </a:r>
            </a:p>
            <a:p>
              <a:endParaRPr lang="nl-BE" sz="1100" b="1" dirty="0">
                <a:solidFill>
                  <a:schemeClr val="accent2"/>
                </a:solidFill>
                <a:latin typeface="+mj-lt"/>
              </a:endParaRPr>
            </a:p>
            <a:p>
              <a:endParaRPr lang="nl-BE" sz="1100" b="1" dirty="0">
                <a:solidFill>
                  <a:schemeClr val="accent2"/>
                </a:solidFill>
                <a:latin typeface="+mj-lt"/>
              </a:endParaRPr>
            </a:p>
            <a:p>
              <a:r>
                <a:rPr lang="en-US" sz="1600" b="0" i="1" dirty="0">
                  <a:solidFill>
                    <a:schemeClr val="bg2"/>
                  </a:solidFill>
                  <a:effectLst/>
                  <a:latin typeface="+mj-lt"/>
                </a:rPr>
                <a:t>For the purposes of this Convention, the term “resident of a Contracting State” means any person who, under the laws of that State, is liable to tax therein by reason of his domicile, residence, place of management or any other criterion of a similar nature, and also includes that State and any political subdivision or local authority thereof as well as a </a:t>
              </a:r>
              <a:r>
                <a:rPr lang="en-US" sz="1600" b="0" i="1" dirty="0" err="1">
                  <a:solidFill>
                    <a:schemeClr val="bg2"/>
                  </a:solidFill>
                  <a:effectLst/>
                  <a:latin typeface="+mj-lt"/>
                </a:rPr>
                <a:t>recognised</a:t>
              </a:r>
              <a:r>
                <a:rPr lang="en-US" sz="1600" b="0" i="1" dirty="0">
                  <a:solidFill>
                    <a:schemeClr val="bg2"/>
                  </a:solidFill>
                  <a:effectLst/>
                  <a:latin typeface="+mj-lt"/>
                </a:rPr>
                <a:t> pension fund of that State. </a:t>
              </a:r>
            </a:p>
            <a:p>
              <a:endParaRPr lang="en-US" sz="1600" i="1" dirty="0">
                <a:solidFill>
                  <a:schemeClr val="bg2"/>
                </a:solidFill>
                <a:latin typeface="+mj-lt"/>
              </a:endParaRPr>
            </a:p>
            <a:p>
              <a:r>
                <a:rPr lang="en-US" sz="1600" b="0" i="1" dirty="0">
                  <a:solidFill>
                    <a:schemeClr val="bg2"/>
                  </a:solidFill>
                  <a:effectLst/>
                  <a:latin typeface="+mj-lt"/>
                </a:rPr>
                <a:t>This term, however, does not include any person who is liable to tax in that State in respect only of income from sources in that State or capital situated therein.</a:t>
              </a:r>
              <a:endParaRPr lang="nl-BE" sz="1600" b="1" i="1" dirty="0">
                <a:solidFill>
                  <a:schemeClr val="bg2"/>
                </a:solidFill>
                <a:latin typeface="+mj-lt"/>
              </a:endParaRPr>
            </a:p>
            <a:p>
              <a:endParaRPr lang="en-BE" sz="1600" b="1" i="1" dirty="0">
                <a:solidFill>
                  <a:schemeClr val="bg2"/>
                </a:solidFill>
                <a:latin typeface="+mj-lt"/>
              </a:endParaRPr>
            </a:p>
            <a:p>
              <a:pPr marL="342900" indent="-342900" algn="just">
                <a:buFont typeface="Wingdings" panose="05000000000000000000" pitchFamily="2" charset="2"/>
                <a:buChar char="§"/>
              </a:pPr>
              <a:endParaRPr lang="en-BE" sz="1800" dirty="0">
                <a:solidFill>
                  <a:schemeClr val="tx2"/>
                </a:solidFill>
              </a:endParaRPr>
            </a:p>
          </p:txBody>
        </p:sp>
      </p:grpSp>
    </p:spTree>
    <p:extLst>
      <p:ext uri="{BB962C8B-B14F-4D97-AF65-F5344CB8AC3E}">
        <p14:creationId xmlns:p14="http://schemas.microsoft.com/office/powerpoint/2010/main" val="2312039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4442242"/>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omprehensive tax liability </a:t>
            </a:r>
          </a:p>
          <a:p>
            <a:pPr marL="508000" lvl="1" indent="-285750">
              <a:spcAft>
                <a:spcPts val="600"/>
              </a:spcAft>
              <a:buClr>
                <a:srgbClr val="00B0F0"/>
              </a:buClr>
            </a:pPr>
            <a:r>
              <a:rPr lang="en-BE" sz="1400" dirty="0">
                <a:solidFill>
                  <a:schemeClr val="bg2"/>
                </a:solidFill>
                <a:latin typeface="Arial" panose="020B0604020202020204" pitchFamily="34" charset="0"/>
              </a:rPr>
              <a:t>Territorial tax regimes?  </a:t>
            </a:r>
          </a:p>
          <a:p>
            <a:pPr marL="508000" lvl="1" indent="-285750">
              <a:spcAft>
                <a:spcPts val="600"/>
              </a:spcAft>
              <a:buClr>
                <a:srgbClr val="00B0F0"/>
              </a:buClr>
            </a:pPr>
            <a:r>
              <a:rPr lang="en-BE" sz="1400" dirty="0">
                <a:solidFill>
                  <a:schemeClr val="bg2"/>
                </a:solidFill>
                <a:latin typeface="Arial" panose="020B0604020202020204" pitchFamily="34" charset="0"/>
              </a:rPr>
              <a:t>ITC does not exempt Belgian companies from all foreign income</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Effective tax liability? </a:t>
            </a:r>
          </a:p>
          <a:p>
            <a:pPr marL="508000" lvl="1" indent="-285750">
              <a:spcAft>
                <a:spcPts val="600"/>
              </a:spcAft>
              <a:buClr>
                <a:srgbClr val="00B0F0"/>
              </a:buClr>
            </a:pPr>
            <a:r>
              <a:rPr lang="en-BE" sz="1400" dirty="0">
                <a:solidFill>
                  <a:schemeClr val="bg2"/>
                </a:solidFill>
                <a:latin typeface="Arial" panose="020B0604020202020204" pitchFamily="34" charset="0"/>
              </a:rPr>
              <a:t>Belgian MC: a person “liable to tax” in a Contracting State when that person is subject to the tax laws in force in that Contracting State, even if the income or capital is (wholly or partially) exempt from tax under those laws</a:t>
            </a:r>
            <a:endParaRPr lang="nl-BE" sz="1400" dirty="0">
              <a:solidFill>
                <a:schemeClr val="bg2"/>
              </a:solidFill>
              <a:latin typeface="Arial" panose="020B0604020202020204" pitchFamily="34" charset="0"/>
            </a:endParaRPr>
          </a:p>
          <a:p>
            <a:pPr marL="508000" lvl="1" indent="-285750">
              <a:spcAft>
                <a:spcPts val="600"/>
              </a:spcAft>
              <a:buClr>
                <a:srgbClr val="00B0F0"/>
              </a:buClr>
            </a:pPr>
            <a:r>
              <a:rPr lang="en-BE" sz="1400" dirty="0">
                <a:solidFill>
                  <a:schemeClr val="bg2"/>
                </a:solidFill>
                <a:latin typeface="Arial" panose="020B0604020202020204" pitchFamily="34" charset="0"/>
              </a:rPr>
              <a:t>Definition in DTT with Japan, Uruguay and the Netherlands (not yet in force)</a:t>
            </a:r>
          </a:p>
          <a:p>
            <a:pPr marL="508000" lvl="1" indent="-285750">
              <a:spcAft>
                <a:spcPts val="600"/>
              </a:spcAft>
              <a:buClr>
                <a:srgbClr val="00B0F0"/>
              </a:buClr>
            </a:pPr>
            <a:r>
              <a:rPr lang="en-BE" sz="1400" dirty="0">
                <a:solidFill>
                  <a:schemeClr val="bg2"/>
                </a:solidFill>
                <a:latin typeface="Arial" panose="020B0604020202020204" pitchFamily="34" charset="0"/>
              </a:rPr>
              <a:t>Belgian Companies taxed on alternative basis (article 185</a:t>
            </a:r>
            <a:r>
              <a:rPr lang="nl-BE" sz="1400" dirty="0">
                <a:solidFill>
                  <a:schemeClr val="bg2"/>
                </a:solidFill>
                <a:latin typeface="Arial" panose="020B0604020202020204" pitchFamily="34" charset="0"/>
              </a:rPr>
              <a:t>bis</a:t>
            </a:r>
            <a:r>
              <a:rPr lang="en-BE" sz="1400" dirty="0">
                <a:solidFill>
                  <a:schemeClr val="bg2"/>
                </a:solidFill>
                <a:latin typeface="Arial" panose="020B0604020202020204" pitchFamily="34" charset="0"/>
              </a:rPr>
              <a:t> ITC) are ‘liable to tax’</a:t>
            </a:r>
          </a:p>
          <a:p>
            <a:pPr marL="508000" lvl="1" indent="-285750">
              <a:spcAft>
                <a:spcPts val="600"/>
              </a:spcAft>
              <a:buClr>
                <a:srgbClr val="00B0F0"/>
              </a:buClr>
            </a:pPr>
            <a:r>
              <a:rPr lang="en-BE" sz="1400" dirty="0">
                <a:solidFill>
                  <a:schemeClr val="bg2"/>
                </a:solidFill>
                <a:latin typeface="Arial" panose="020B0604020202020204" pitchFamily="34" charset="0"/>
              </a:rPr>
              <a:t>Ghent 5 November 2024 and Brussels 25 April 2023: Luxembourg SICAV is liable to tax and qualifies as tax treaty resident</a:t>
            </a:r>
            <a:endParaRPr lang="en-BE" dirty="0">
              <a:solidFill>
                <a:schemeClr val="bg2"/>
              </a:solidFill>
              <a:highlight>
                <a:srgbClr val="FFFF00"/>
              </a:highlight>
              <a:latin typeface="Arial" panose="020B0604020202020204" pitchFamily="34" charset="0"/>
            </a:endParaRP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article 4,§1 OECD Model Convention  </a:t>
            </a:r>
            <a:endParaRPr sz="2400" dirty="0"/>
          </a:p>
        </p:txBody>
      </p:sp>
      <p:grpSp>
        <p:nvGrpSpPr>
          <p:cNvPr id="5" name="Group 4">
            <a:extLst>
              <a:ext uri="{FF2B5EF4-FFF2-40B4-BE49-F238E27FC236}">
                <a16:creationId xmlns:a16="http://schemas.microsoft.com/office/drawing/2014/main" id="{88654292-C3C5-452D-691A-D98C462310D1}"/>
              </a:ext>
            </a:extLst>
          </p:cNvPr>
          <p:cNvGrpSpPr/>
          <p:nvPr/>
        </p:nvGrpSpPr>
        <p:grpSpPr>
          <a:xfrm>
            <a:off x="7027191" y="805543"/>
            <a:ext cx="4901284" cy="5755594"/>
            <a:chOff x="7027191" y="805543"/>
            <a:chExt cx="4901284" cy="5755594"/>
          </a:xfrm>
        </p:grpSpPr>
        <p:grpSp>
          <p:nvGrpSpPr>
            <p:cNvPr id="6" name="Groep 3">
              <a:extLst>
                <a:ext uri="{FF2B5EF4-FFF2-40B4-BE49-F238E27FC236}">
                  <a16:creationId xmlns:a16="http://schemas.microsoft.com/office/drawing/2014/main" id="{3C0D1A31-5B1C-9FB6-11B8-F72547195363}"/>
                </a:ext>
              </a:extLst>
            </p:cNvPr>
            <p:cNvGrpSpPr/>
            <p:nvPr/>
          </p:nvGrpSpPr>
          <p:grpSpPr>
            <a:xfrm>
              <a:off x="7027191" y="805543"/>
              <a:ext cx="4901284" cy="5755594"/>
              <a:chOff x="257891" y="987576"/>
              <a:chExt cx="5545134" cy="5249712"/>
            </a:xfrm>
          </p:grpSpPr>
          <p:sp>
            <p:nvSpPr>
              <p:cNvPr id="18" name="Text Box 8">
                <a:extLst>
                  <a:ext uri="{FF2B5EF4-FFF2-40B4-BE49-F238E27FC236}">
                    <a16:creationId xmlns:a16="http://schemas.microsoft.com/office/drawing/2014/main" id="{579C8148-E6F9-DE6A-47E8-DD167CDC70DF}"/>
                  </a:ext>
                </a:extLst>
              </p:cNvPr>
              <p:cNvSpPr txBox="1">
                <a:spLocks/>
              </p:cNvSpPr>
              <p:nvPr/>
            </p:nvSpPr>
            <p:spPr>
              <a:xfrm>
                <a:off x="257891"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9" name="Graphic 9">
                <a:extLst>
                  <a:ext uri="{FF2B5EF4-FFF2-40B4-BE49-F238E27FC236}">
                    <a16:creationId xmlns:a16="http://schemas.microsoft.com/office/drawing/2014/main" id="{68858C88-5F55-FFCC-62F0-6A4D36F0C2C3}"/>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sp>
          <p:nvSpPr>
            <p:cNvPr id="9" name="Prostokąt zaokrąglony">
              <a:extLst>
                <a:ext uri="{FF2B5EF4-FFF2-40B4-BE49-F238E27FC236}">
                  <a16:creationId xmlns:a16="http://schemas.microsoft.com/office/drawing/2014/main" id="{0CB74F21-70F9-7066-D42A-4F020A46D5DD}"/>
                </a:ext>
              </a:extLst>
            </p:cNvPr>
            <p:cNvSpPr/>
            <p:nvPr/>
          </p:nvSpPr>
          <p:spPr>
            <a:xfrm>
              <a:off x="7141090" y="993574"/>
              <a:ext cx="4683447" cy="5466001"/>
            </a:xfrm>
            <a:prstGeom prst="roundRect">
              <a:avLst>
                <a:gd name="adj" fmla="val 2148"/>
              </a:avLst>
            </a:prstGeom>
            <a:noFill/>
            <a:ln w="9525" cap="flat">
              <a:noFill/>
              <a:prstDash val="sysDot"/>
              <a:round/>
            </a:ln>
            <a:effectLst/>
          </p:spPr>
          <p:txBody>
            <a:bodyPr wrap="square" lIns="72000" tIns="72000" rIns="72000" bIns="72000" numCol="1"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BE" sz="1600" b="1" dirty="0">
                  <a:solidFill>
                    <a:schemeClr val="accent2"/>
                  </a:solidFill>
                  <a:latin typeface="+mj-lt"/>
                </a:rPr>
                <a:t>ARTIKEL 4, §1 OECD MODEL CONVENTION (2017)</a:t>
              </a:r>
            </a:p>
            <a:p>
              <a:endParaRPr lang="nl-BE" sz="1100" b="1" dirty="0">
                <a:solidFill>
                  <a:schemeClr val="accent2"/>
                </a:solidFill>
                <a:latin typeface="+mj-lt"/>
              </a:endParaRPr>
            </a:p>
            <a:p>
              <a:endParaRPr lang="nl-BE" sz="1100" b="1" dirty="0">
                <a:solidFill>
                  <a:schemeClr val="accent2"/>
                </a:solidFill>
                <a:latin typeface="+mj-lt"/>
              </a:endParaRPr>
            </a:p>
            <a:p>
              <a:r>
                <a:rPr lang="en-US" sz="1600" b="0" i="1" dirty="0">
                  <a:solidFill>
                    <a:schemeClr val="bg2"/>
                  </a:solidFill>
                  <a:effectLst/>
                  <a:latin typeface="+mj-lt"/>
                </a:rPr>
                <a:t>For the purposes of this Convention, the term “resident of a Contracting State” means any person who, under the laws of that State, is liable to tax therein by reason of his domicile, residence, place of management or any other criterion of a similar nature, and also includes that State and any political subdivision or local authority thereof as well as a </a:t>
              </a:r>
              <a:r>
                <a:rPr lang="en-US" sz="1600" b="0" i="1" dirty="0" err="1">
                  <a:solidFill>
                    <a:schemeClr val="bg2"/>
                  </a:solidFill>
                  <a:effectLst/>
                  <a:latin typeface="+mj-lt"/>
                </a:rPr>
                <a:t>recognised</a:t>
              </a:r>
              <a:r>
                <a:rPr lang="en-US" sz="1600" b="0" i="1" dirty="0">
                  <a:solidFill>
                    <a:schemeClr val="bg2"/>
                  </a:solidFill>
                  <a:effectLst/>
                  <a:latin typeface="+mj-lt"/>
                </a:rPr>
                <a:t> pension fund of that State. </a:t>
              </a:r>
            </a:p>
            <a:p>
              <a:endParaRPr lang="en-US" sz="1600" i="1" dirty="0">
                <a:solidFill>
                  <a:schemeClr val="bg2"/>
                </a:solidFill>
                <a:latin typeface="+mj-lt"/>
              </a:endParaRPr>
            </a:p>
            <a:p>
              <a:r>
                <a:rPr lang="en-US" sz="1600" b="0" i="1" dirty="0">
                  <a:solidFill>
                    <a:schemeClr val="bg2"/>
                  </a:solidFill>
                  <a:effectLst/>
                  <a:latin typeface="+mj-lt"/>
                </a:rPr>
                <a:t>This term, however, does not include any person who is liable to tax in that State in respect only of income from sources in that State or capital situated therein.</a:t>
              </a:r>
              <a:endParaRPr lang="nl-BE" sz="1600" b="1" i="1" dirty="0">
                <a:solidFill>
                  <a:schemeClr val="bg2"/>
                </a:solidFill>
                <a:latin typeface="+mj-lt"/>
              </a:endParaRPr>
            </a:p>
            <a:p>
              <a:endParaRPr lang="en-BE" sz="1600" b="1" i="1" dirty="0">
                <a:solidFill>
                  <a:schemeClr val="bg2"/>
                </a:solidFill>
                <a:latin typeface="+mj-lt"/>
              </a:endParaRPr>
            </a:p>
            <a:p>
              <a:pPr marL="342900" indent="-342900" algn="just">
                <a:buFont typeface="Wingdings" panose="05000000000000000000" pitchFamily="2" charset="2"/>
                <a:buChar char="§"/>
              </a:pPr>
              <a:endParaRPr lang="en-BE" sz="1800" dirty="0">
                <a:solidFill>
                  <a:schemeClr val="tx2"/>
                </a:solidFill>
              </a:endParaRPr>
            </a:p>
          </p:txBody>
        </p:sp>
      </p:grpSp>
    </p:spTree>
    <p:extLst>
      <p:ext uri="{BB962C8B-B14F-4D97-AF65-F5344CB8AC3E}">
        <p14:creationId xmlns:p14="http://schemas.microsoft.com/office/powerpoint/2010/main" val="215091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2857192"/>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Belgian residence certificate if taxpayer invokes DTT</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ertificate can be requested online </a:t>
            </a:r>
            <a:r>
              <a:rPr lang="nl-BE" dirty="0">
                <a:solidFill>
                  <a:schemeClr val="bg2"/>
                </a:solidFill>
                <a:latin typeface="Arial" panose="020B0604020202020204" pitchFamily="34" charset="0"/>
              </a:rPr>
              <a:t>(</a:t>
            </a:r>
            <a:r>
              <a:rPr lang="nl-BE" dirty="0" err="1">
                <a:solidFill>
                  <a:schemeClr val="bg2"/>
                </a:solidFill>
                <a:latin typeface="Arial" panose="020B0604020202020204" pitchFamily="34" charset="0"/>
              </a:rPr>
              <a:t>MyminFin</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Only if a DTT is in force</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ertificate is delivered for one country, one taxable period and on type of income only (multiple certificates possible)</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n principle available same day</a:t>
            </a: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article 4,§1 OECD Model Convention  </a:t>
            </a:r>
            <a:endParaRPr sz="2400" dirty="0"/>
          </a:p>
        </p:txBody>
      </p:sp>
      <p:grpSp>
        <p:nvGrpSpPr>
          <p:cNvPr id="6" name="Groep 3">
            <a:extLst>
              <a:ext uri="{FF2B5EF4-FFF2-40B4-BE49-F238E27FC236}">
                <a16:creationId xmlns:a16="http://schemas.microsoft.com/office/drawing/2014/main" id="{3C0D1A31-5B1C-9FB6-11B8-F72547195363}"/>
              </a:ext>
            </a:extLst>
          </p:cNvPr>
          <p:cNvGrpSpPr/>
          <p:nvPr/>
        </p:nvGrpSpPr>
        <p:grpSpPr>
          <a:xfrm>
            <a:off x="7027191" y="805543"/>
            <a:ext cx="4901284" cy="5755594"/>
            <a:chOff x="257891" y="987576"/>
            <a:chExt cx="5545134" cy="5249712"/>
          </a:xfrm>
        </p:grpSpPr>
        <p:sp>
          <p:nvSpPr>
            <p:cNvPr id="18" name="Text Box 8">
              <a:extLst>
                <a:ext uri="{FF2B5EF4-FFF2-40B4-BE49-F238E27FC236}">
                  <a16:creationId xmlns:a16="http://schemas.microsoft.com/office/drawing/2014/main" id="{579C8148-E6F9-DE6A-47E8-DD167CDC70DF}"/>
                </a:ext>
              </a:extLst>
            </p:cNvPr>
            <p:cNvSpPr txBox="1">
              <a:spLocks/>
            </p:cNvSpPr>
            <p:nvPr/>
          </p:nvSpPr>
          <p:spPr>
            <a:xfrm>
              <a:off x="257891"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9" name="Graphic 9">
              <a:extLst>
                <a:ext uri="{FF2B5EF4-FFF2-40B4-BE49-F238E27FC236}">
                  <a16:creationId xmlns:a16="http://schemas.microsoft.com/office/drawing/2014/main" id="{68858C88-5F55-FFCC-62F0-6A4D36F0C2C3}"/>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pic>
        <p:nvPicPr>
          <p:cNvPr id="3" name="Picture 2">
            <a:extLst>
              <a:ext uri="{FF2B5EF4-FFF2-40B4-BE49-F238E27FC236}">
                <a16:creationId xmlns:a16="http://schemas.microsoft.com/office/drawing/2014/main" id="{C3791AA2-9803-6C98-768D-7379C8490EF4}"/>
              </a:ext>
            </a:extLst>
          </p:cNvPr>
          <p:cNvPicPr>
            <a:picLocks noChangeAspect="1"/>
          </p:cNvPicPr>
          <p:nvPr/>
        </p:nvPicPr>
        <p:blipFill>
          <a:blip r:embed="rId3"/>
          <a:stretch>
            <a:fillRect/>
          </a:stretch>
        </p:blipFill>
        <p:spPr>
          <a:xfrm>
            <a:off x="7325360" y="2800312"/>
            <a:ext cx="4481941" cy="3759238"/>
          </a:xfrm>
          <a:prstGeom prst="rect">
            <a:avLst/>
          </a:prstGeom>
        </p:spPr>
      </p:pic>
      <p:pic>
        <p:nvPicPr>
          <p:cNvPr id="10" name="Picture 9">
            <a:extLst>
              <a:ext uri="{FF2B5EF4-FFF2-40B4-BE49-F238E27FC236}">
                <a16:creationId xmlns:a16="http://schemas.microsoft.com/office/drawing/2014/main" id="{042B4E01-348B-3C6A-8112-AD7BC1B4EDA1}"/>
              </a:ext>
            </a:extLst>
          </p:cNvPr>
          <p:cNvPicPr>
            <a:picLocks noChangeAspect="1"/>
          </p:cNvPicPr>
          <p:nvPr/>
        </p:nvPicPr>
        <p:blipFill>
          <a:blip r:embed="rId4"/>
          <a:stretch>
            <a:fillRect/>
          </a:stretch>
        </p:blipFill>
        <p:spPr>
          <a:xfrm>
            <a:off x="7325360" y="811180"/>
            <a:ext cx="4418618" cy="1905387"/>
          </a:xfrm>
          <a:prstGeom prst="rect">
            <a:avLst/>
          </a:prstGeom>
        </p:spPr>
      </p:pic>
    </p:spTree>
    <p:extLst>
      <p:ext uri="{BB962C8B-B14F-4D97-AF65-F5344CB8AC3E}">
        <p14:creationId xmlns:p14="http://schemas.microsoft.com/office/powerpoint/2010/main" val="33525265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8" descr="A blue screen with a map of the world&#10;&#10;Description automatically generated">
            <a:extLst>
              <a:ext uri="{FF2B5EF4-FFF2-40B4-BE49-F238E27FC236}">
                <a16:creationId xmlns:a16="http://schemas.microsoft.com/office/drawing/2014/main" id="{B93E6675-14EF-A44F-C864-80FDDEDDC7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463" y="773113"/>
            <a:ext cx="11649075" cy="582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D7C2343-2B45-D39D-D9D2-48E859FA9252}"/>
              </a:ext>
            </a:extLst>
          </p:cNvPr>
          <p:cNvSpPr/>
          <p:nvPr/>
        </p:nvSpPr>
        <p:spPr>
          <a:xfrm>
            <a:off x="271463" y="771525"/>
            <a:ext cx="11649075" cy="5827712"/>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fontAlgn="auto" hangingPunct="1">
              <a:spcBef>
                <a:spcPts val="0"/>
              </a:spcBef>
              <a:spcAft>
                <a:spcPts val="0"/>
              </a:spcAft>
              <a:defRPr/>
            </a:pPr>
            <a:endParaRPr lang="en-NL">
              <a:solidFill>
                <a:schemeClr val="bg1"/>
              </a:solidFill>
            </a:endParaRPr>
          </a:p>
        </p:txBody>
      </p:sp>
      <p:sp>
        <p:nvSpPr>
          <p:cNvPr id="96260" name="Text Placeholder 2">
            <a:extLst>
              <a:ext uri="{FF2B5EF4-FFF2-40B4-BE49-F238E27FC236}">
                <a16:creationId xmlns:a16="http://schemas.microsoft.com/office/drawing/2014/main" id="{924C1038-50E3-F92B-9F5A-912DD4B06C37}"/>
              </a:ext>
            </a:extLst>
          </p:cNvPr>
          <p:cNvSpPr txBox="1">
            <a:spLocks noChangeArrowheads="1"/>
          </p:cNvSpPr>
          <p:nvPr/>
        </p:nvSpPr>
        <p:spPr bwMode="auto">
          <a:xfrm>
            <a:off x="819150" y="5434013"/>
            <a:ext cx="7324725" cy="11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tabLst>
                <a:tab pos="6816725" algn="r"/>
              </a:tabLst>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tabLst>
                <a:tab pos="6816725" algn="r"/>
              </a:tabLst>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9pPr>
          </a:lstStyle>
          <a:p>
            <a:pPr>
              <a:lnSpc>
                <a:spcPts val="3600"/>
              </a:lnSpc>
              <a:spcBef>
                <a:spcPct val="0"/>
              </a:spcBef>
            </a:pPr>
            <a:r>
              <a:rPr lang="en-GB" sz="3200" dirty="0">
                <a:solidFill>
                  <a:srgbClr val="FFFFFF"/>
                </a:solidFill>
                <a:latin typeface="+mj-lt"/>
                <a:cs typeface="Calibri" panose="020F0502020204030204" pitchFamily="34" charset="0"/>
              </a:rPr>
              <a:t>Solving instances of double/multiple residency</a:t>
            </a:r>
          </a:p>
          <a:p>
            <a:pPr eaLnBrk="1" hangingPunct="1">
              <a:lnSpc>
                <a:spcPts val="3600"/>
              </a:lnSpc>
              <a:spcBef>
                <a:spcPct val="0"/>
              </a:spcBef>
            </a:pPr>
            <a:endParaRPr lang="en-US" altLang="en-US" sz="3200" dirty="0">
              <a:solidFill>
                <a:schemeClr val="bg1"/>
              </a:solidFill>
              <a:latin typeface="+mj-lt"/>
              <a:cs typeface="Calibri" panose="020F0502020204030204" pitchFamily="34" charset="0"/>
            </a:endParaRPr>
          </a:p>
        </p:txBody>
      </p:sp>
      <p:sp>
        <p:nvSpPr>
          <p:cNvPr id="96261" name="Text Placeholder 2">
            <a:extLst>
              <a:ext uri="{FF2B5EF4-FFF2-40B4-BE49-F238E27FC236}">
                <a16:creationId xmlns:a16="http://schemas.microsoft.com/office/drawing/2014/main" id="{D83D2935-D9A3-74BD-96C6-1325D58471D4}"/>
              </a:ext>
            </a:extLst>
          </p:cNvPr>
          <p:cNvSpPr txBox="1">
            <a:spLocks noChangeArrowheads="1"/>
          </p:cNvSpPr>
          <p:nvPr/>
        </p:nvSpPr>
        <p:spPr bwMode="auto">
          <a:xfrm>
            <a:off x="819150" y="4803775"/>
            <a:ext cx="990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9pPr>
          </a:lstStyle>
          <a:p>
            <a:pPr eaLnBrk="1" hangingPunct="1">
              <a:lnSpc>
                <a:spcPts val="3400"/>
              </a:lnSpc>
              <a:spcBef>
                <a:spcPct val="0"/>
              </a:spcBef>
            </a:pPr>
            <a:r>
              <a:rPr lang="en-US" altLang="en-US" sz="3400" dirty="0">
                <a:solidFill>
                  <a:schemeClr val="bg1"/>
                </a:solidFill>
                <a:latin typeface="Arial Black" panose="020B0A04020102020204" pitchFamily="34" charset="0"/>
                <a:cs typeface="Calibri" panose="020F0502020204030204" pitchFamily="34" charset="0"/>
              </a:rPr>
              <a:t>4.</a:t>
            </a:r>
            <a:endParaRPr lang="en-GB" altLang="en-US" sz="3400" dirty="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1D9F5789-C97A-C850-AE5B-A59B91322E48}"/>
              </a:ext>
            </a:extLst>
          </p:cNvPr>
          <p:cNvPicPr>
            <a:picLocks noChangeAspect="1"/>
          </p:cNvPicPr>
          <p:nvPr/>
        </p:nvPicPr>
        <p:blipFill>
          <a:blip r:embed="rId3"/>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1423505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FFA2B8D-2693-40C1-860E-671229637CB0}"/>
              </a:ext>
            </a:extLst>
          </p:cNvPr>
          <p:cNvSpPr txBox="1">
            <a:spLocks/>
          </p:cNvSpPr>
          <p:nvPr/>
        </p:nvSpPr>
        <p:spPr>
          <a:xfrm>
            <a:off x="303212" y="1124744"/>
            <a:ext cx="10906125" cy="5447645"/>
          </a:xfrm>
          <a:prstGeom prst="rect">
            <a:avLst/>
          </a:prstGeom>
        </p:spPr>
        <p:txBody>
          <a:bodyPr lIns="0" tIns="0" rIns="0" bIns="0"/>
          <a:lstStyle>
            <a:lvl1pPr marL="0" indent="0" algn="l" defTabSz="914400" rtl="0" eaLnBrk="1" latinLnBrk="0" hangingPunct="1">
              <a:lnSpc>
                <a:spcPct val="100000"/>
              </a:lnSpc>
              <a:spcBef>
                <a:spcPts val="400"/>
              </a:spcBef>
              <a:buFont typeface="Arial" panose="020B0604020202020204" pitchFamily="34" charset="0"/>
              <a:buNone/>
              <a:defRPr sz="20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20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8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20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2000" b="1" kern="1200">
                <a:solidFill>
                  <a:schemeClr val="accent2"/>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rgbClr val="00A2E0"/>
              </a:buClr>
              <a:buFont typeface="Arial" panose="020B0604020202020204" pitchFamily="34" charset="0"/>
              <a:buChar char="•"/>
            </a:pPr>
            <a:endParaRPr lang="en-US" dirty="0">
              <a:solidFill>
                <a:srgbClr val="333333"/>
              </a:solidFill>
            </a:endParaRPr>
          </a:p>
          <a:p>
            <a:pPr lvl="2" indent="0">
              <a:buClr>
                <a:srgbClr val="00A2E0"/>
              </a:buClr>
              <a:buNone/>
            </a:pPr>
            <a:endParaRPr lang="en-US" dirty="0">
              <a:solidFill>
                <a:srgbClr val="333333"/>
              </a:solidFill>
            </a:endParaRPr>
          </a:p>
        </p:txBody>
      </p:sp>
      <p:graphicFrame>
        <p:nvGraphicFramePr>
          <p:cNvPr id="9" name="Table 8">
            <a:extLst>
              <a:ext uri="{FF2B5EF4-FFF2-40B4-BE49-F238E27FC236}">
                <a16:creationId xmlns:a16="http://schemas.microsoft.com/office/drawing/2014/main" id="{88B26621-4C13-4E56-B006-88464224C3CA}"/>
              </a:ext>
            </a:extLst>
          </p:cNvPr>
          <p:cNvGraphicFramePr>
            <a:graphicFrameLocks noGrp="1"/>
          </p:cNvGraphicFramePr>
          <p:nvPr>
            <p:extLst>
              <p:ext uri="{D42A27DB-BD31-4B8C-83A1-F6EECF244321}">
                <p14:modId xmlns:p14="http://schemas.microsoft.com/office/powerpoint/2010/main" val="1669315406"/>
              </p:ext>
            </p:extLst>
          </p:nvPr>
        </p:nvGraphicFramePr>
        <p:xfrm>
          <a:off x="4342895" y="1780490"/>
          <a:ext cx="6722659" cy="1478655"/>
        </p:xfrm>
        <a:graphic>
          <a:graphicData uri="http://schemas.openxmlformats.org/drawingml/2006/table">
            <a:tbl>
              <a:tblPr firstRow="1" bandRow="1">
                <a:tableStyleId>{69012ECD-51FC-41F1-AA8D-1B2483CD663E}</a:tableStyleId>
              </a:tblPr>
              <a:tblGrid>
                <a:gridCol w="6722659">
                  <a:extLst>
                    <a:ext uri="{9D8B030D-6E8A-4147-A177-3AD203B41FA5}">
                      <a16:colId xmlns:a16="http://schemas.microsoft.com/office/drawing/2014/main" val="20000"/>
                    </a:ext>
                  </a:extLst>
                </a:gridCol>
              </a:tblGrid>
              <a:tr h="213148">
                <a:tc>
                  <a:txBody>
                    <a:bodyPr/>
                    <a:lstStyle/>
                    <a:p>
                      <a:pPr algn="ctr"/>
                      <a:r>
                        <a:rPr lang="en-US" sz="1800" b="1" noProof="0" dirty="0"/>
                        <a:t>Connecting factors deviate among countries</a:t>
                      </a:r>
                      <a:endParaRPr lang="nl-BE" sz="1800" b="1" noProof="0" dirty="0"/>
                    </a:p>
                  </a:txBody>
                  <a:tcPr anchor="ctr"/>
                </a:tc>
                <a:extLst>
                  <a:ext uri="{0D108BD9-81ED-4DB2-BD59-A6C34878D82A}">
                    <a16:rowId xmlns:a16="http://schemas.microsoft.com/office/drawing/2014/main" val="10000"/>
                  </a:ext>
                </a:extLst>
              </a:tr>
              <a:tr h="1112895">
                <a:tc>
                  <a:txBody>
                    <a:bodyPr/>
                    <a:lstStyle/>
                    <a:p>
                      <a:pPr marL="171450" marR="0" lvl="1"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800" b="0" kern="1200" baseline="0" noProof="0" dirty="0">
                          <a:solidFill>
                            <a:schemeClr val="bg2"/>
                          </a:solidFill>
                          <a:latin typeface="+mn-lt"/>
                          <a:ea typeface="+mn-ea"/>
                          <a:cs typeface="+mn-cs"/>
                        </a:rPr>
                        <a:t>Formal and factual connecting factors </a:t>
                      </a:r>
                    </a:p>
                    <a:p>
                      <a:pPr marL="171450" marR="0" lvl="1"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800" b="0" kern="1200" baseline="0" noProof="0" dirty="0">
                          <a:solidFill>
                            <a:schemeClr val="bg2"/>
                          </a:solidFill>
                          <a:latin typeface="+mn-lt"/>
                          <a:ea typeface="+mn-ea"/>
                          <a:cs typeface="+mn-cs"/>
                        </a:rPr>
                        <a:t>Various factual connecting factors</a:t>
                      </a:r>
                    </a:p>
                    <a:p>
                      <a:pPr marL="171450" marR="0" lvl="1"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800" b="0" kern="1200" baseline="0" noProof="0" dirty="0">
                          <a:solidFill>
                            <a:schemeClr val="bg2"/>
                          </a:solidFill>
                          <a:latin typeface="+mn-lt"/>
                          <a:ea typeface="+mn-ea"/>
                          <a:cs typeface="+mn-cs"/>
                        </a:rPr>
                        <a:t>Flexible corporate law (CJEU case law) </a:t>
                      </a:r>
                    </a:p>
                  </a:txBody>
                  <a:tcPr>
                    <a:solidFill>
                      <a:srgbClr val="F8F9FE"/>
                    </a:solidFill>
                  </a:tcPr>
                </a:tc>
                <a:extLst>
                  <a:ext uri="{0D108BD9-81ED-4DB2-BD59-A6C34878D82A}">
                    <a16:rowId xmlns:a16="http://schemas.microsoft.com/office/drawing/2014/main" val="10001"/>
                  </a:ext>
                </a:extLst>
              </a:tr>
            </a:tbl>
          </a:graphicData>
        </a:graphic>
      </p:graphicFrame>
      <p:graphicFrame>
        <p:nvGraphicFramePr>
          <p:cNvPr id="10" name="Table 9">
            <a:extLst>
              <a:ext uri="{FF2B5EF4-FFF2-40B4-BE49-F238E27FC236}">
                <a16:creationId xmlns:a16="http://schemas.microsoft.com/office/drawing/2014/main" id="{6071A185-5035-4F67-B687-7E7E45F01241}"/>
              </a:ext>
            </a:extLst>
          </p:cNvPr>
          <p:cNvGraphicFramePr>
            <a:graphicFrameLocks noGrp="1"/>
          </p:cNvGraphicFramePr>
          <p:nvPr>
            <p:extLst>
              <p:ext uri="{D42A27DB-BD31-4B8C-83A1-F6EECF244321}">
                <p14:modId xmlns:p14="http://schemas.microsoft.com/office/powerpoint/2010/main" val="2134016765"/>
              </p:ext>
            </p:extLst>
          </p:nvPr>
        </p:nvGraphicFramePr>
        <p:xfrm>
          <a:off x="4342895" y="3897887"/>
          <a:ext cx="6722659" cy="1478655"/>
        </p:xfrm>
        <a:graphic>
          <a:graphicData uri="http://schemas.openxmlformats.org/drawingml/2006/table">
            <a:tbl>
              <a:tblPr firstRow="1" bandRow="1">
                <a:tableStyleId>{69012ECD-51FC-41F1-AA8D-1B2483CD663E}</a:tableStyleId>
              </a:tblPr>
              <a:tblGrid>
                <a:gridCol w="6722659">
                  <a:extLst>
                    <a:ext uri="{9D8B030D-6E8A-4147-A177-3AD203B41FA5}">
                      <a16:colId xmlns:a16="http://schemas.microsoft.com/office/drawing/2014/main" val="20000"/>
                    </a:ext>
                  </a:extLst>
                </a:gridCol>
              </a:tblGrid>
              <a:tr h="213148">
                <a:tc>
                  <a:txBody>
                    <a:bodyPr/>
                    <a:lstStyle/>
                    <a:p>
                      <a:pPr algn="ctr"/>
                      <a:r>
                        <a:rPr lang="en-US" sz="1800" b="1" baseline="0" noProof="0" dirty="0"/>
                        <a:t>Different interpretations</a:t>
                      </a:r>
                      <a:endParaRPr lang="en-US" sz="1800" b="1" noProof="0" dirty="0"/>
                    </a:p>
                  </a:txBody>
                  <a:tcPr anchor="ctr"/>
                </a:tc>
                <a:extLst>
                  <a:ext uri="{0D108BD9-81ED-4DB2-BD59-A6C34878D82A}">
                    <a16:rowId xmlns:a16="http://schemas.microsoft.com/office/drawing/2014/main" val="10000"/>
                  </a:ext>
                </a:extLst>
              </a:tr>
              <a:tr h="1112895">
                <a:tc>
                  <a:txBody>
                    <a:bodyPr/>
                    <a:lstStyle/>
                    <a:p>
                      <a:pPr marL="171450" marR="0" lvl="1"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800" b="0" kern="1200" baseline="0" noProof="0" dirty="0">
                          <a:solidFill>
                            <a:schemeClr val="bg2"/>
                          </a:solidFill>
                          <a:latin typeface="+mn-lt"/>
                          <a:ea typeface="+mn-ea"/>
                          <a:cs typeface="+mn-cs"/>
                        </a:rPr>
                        <a:t>Place of (effective) management interpreted differently</a:t>
                      </a:r>
                    </a:p>
                    <a:p>
                      <a:pPr marL="171450" marR="0" lvl="1"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800" b="0" kern="1200" baseline="0" noProof="0" dirty="0">
                          <a:solidFill>
                            <a:schemeClr val="bg2"/>
                          </a:solidFill>
                          <a:latin typeface="+mn-lt"/>
                          <a:ea typeface="+mn-ea"/>
                          <a:cs typeface="+mn-cs"/>
                        </a:rPr>
                        <a:t>Various facts valued differently </a:t>
                      </a:r>
                    </a:p>
                  </a:txBody>
                  <a:tcPr>
                    <a:solidFill>
                      <a:srgbClr val="F8F9FE"/>
                    </a:solidFill>
                  </a:tcPr>
                </a:tc>
                <a:extLst>
                  <a:ext uri="{0D108BD9-81ED-4DB2-BD59-A6C34878D82A}">
                    <a16:rowId xmlns:a16="http://schemas.microsoft.com/office/drawing/2014/main" val="10001"/>
                  </a:ext>
                </a:extLst>
              </a:tr>
            </a:tbl>
          </a:graphicData>
        </a:graphic>
      </p:graphicFrame>
      <p:sp>
        <p:nvSpPr>
          <p:cNvPr id="11" name="Arrow: Up 10">
            <a:extLst>
              <a:ext uri="{FF2B5EF4-FFF2-40B4-BE49-F238E27FC236}">
                <a16:creationId xmlns:a16="http://schemas.microsoft.com/office/drawing/2014/main" id="{10DE2050-C40E-40FD-B45A-C063542F5A8F}"/>
              </a:ext>
            </a:extLst>
          </p:cNvPr>
          <p:cNvSpPr/>
          <p:nvPr/>
        </p:nvSpPr>
        <p:spPr>
          <a:xfrm rot="3830587">
            <a:off x="3024196" y="1971389"/>
            <a:ext cx="432048" cy="142640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BE" dirty="0" err="1">
              <a:solidFill>
                <a:schemeClr val="bg1"/>
              </a:solidFill>
            </a:endParaRPr>
          </a:p>
        </p:txBody>
      </p:sp>
      <p:sp>
        <p:nvSpPr>
          <p:cNvPr id="12" name="Arrow: Up 11">
            <a:extLst>
              <a:ext uri="{FF2B5EF4-FFF2-40B4-BE49-F238E27FC236}">
                <a16:creationId xmlns:a16="http://schemas.microsoft.com/office/drawing/2014/main" id="{C8184FBE-6CC2-4574-A405-E0C16FE05882}"/>
              </a:ext>
            </a:extLst>
          </p:cNvPr>
          <p:cNvSpPr/>
          <p:nvPr/>
        </p:nvSpPr>
        <p:spPr>
          <a:xfrm rot="6977343">
            <a:off x="2974908" y="3572481"/>
            <a:ext cx="432048" cy="142640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BE" dirty="0" err="1">
              <a:solidFill>
                <a:schemeClr val="bg1"/>
              </a:solidFill>
            </a:endParaRPr>
          </a:p>
        </p:txBody>
      </p:sp>
      <p:grpSp>
        <p:nvGrpSpPr>
          <p:cNvPr id="7" name="Group 6">
            <a:extLst>
              <a:ext uri="{FF2B5EF4-FFF2-40B4-BE49-F238E27FC236}">
                <a16:creationId xmlns:a16="http://schemas.microsoft.com/office/drawing/2014/main" id="{A0D2D85B-1704-C613-8466-D49D854E46BA}"/>
              </a:ext>
            </a:extLst>
          </p:cNvPr>
          <p:cNvGrpSpPr/>
          <p:nvPr/>
        </p:nvGrpSpPr>
        <p:grpSpPr>
          <a:xfrm>
            <a:off x="776636" y="2600908"/>
            <a:ext cx="1728192" cy="1656184"/>
            <a:chOff x="722208" y="2312876"/>
            <a:chExt cx="1728192" cy="1656184"/>
          </a:xfrm>
        </p:grpSpPr>
        <p:sp>
          <p:nvSpPr>
            <p:cNvPr id="13" name="Oval 12">
              <a:extLst>
                <a:ext uri="{FF2B5EF4-FFF2-40B4-BE49-F238E27FC236}">
                  <a16:creationId xmlns:a16="http://schemas.microsoft.com/office/drawing/2014/main" id="{C7B20971-737C-4B9D-8012-FFA253F97243}"/>
                </a:ext>
              </a:extLst>
            </p:cNvPr>
            <p:cNvSpPr/>
            <p:nvPr/>
          </p:nvSpPr>
          <p:spPr>
            <a:xfrm>
              <a:off x="722208" y="2312876"/>
              <a:ext cx="1728192" cy="16561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BE" dirty="0" err="1">
                <a:solidFill>
                  <a:schemeClr val="bg1"/>
                </a:solidFill>
              </a:endParaRPr>
            </a:p>
          </p:txBody>
        </p:sp>
        <p:sp>
          <p:nvSpPr>
            <p:cNvPr id="14" name="TextBox 13">
              <a:extLst>
                <a:ext uri="{FF2B5EF4-FFF2-40B4-BE49-F238E27FC236}">
                  <a16:creationId xmlns:a16="http://schemas.microsoft.com/office/drawing/2014/main" id="{3164ADEF-F00B-4880-B270-A3325176227F}"/>
                </a:ext>
              </a:extLst>
            </p:cNvPr>
            <p:cNvSpPr txBox="1"/>
            <p:nvPr/>
          </p:nvSpPr>
          <p:spPr>
            <a:xfrm>
              <a:off x="1105817" y="2919499"/>
              <a:ext cx="960974" cy="307777"/>
            </a:xfrm>
            <a:prstGeom prst="rect">
              <a:avLst/>
            </a:prstGeom>
            <a:noFill/>
          </p:spPr>
          <p:txBody>
            <a:bodyPr wrap="square" lIns="0" tIns="0" rIns="0" bIns="0" rtlCol="0">
              <a:spAutoFit/>
            </a:bodyPr>
            <a:lstStyle/>
            <a:p>
              <a:pPr algn="ctr"/>
              <a:r>
                <a:rPr lang="nl-BE" sz="2000" b="1" dirty="0">
                  <a:solidFill>
                    <a:schemeClr val="bg1"/>
                  </a:solidFill>
                </a:rPr>
                <a:t>WHY?</a:t>
              </a:r>
              <a:endParaRPr lang="en-BE" sz="2000" b="1" dirty="0" err="1">
                <a:solidFill>
                  <a:schemeClr val="bg1"/>
                </a:solidFill>
              </a:endParaRPr>
            </a:p>
          </p:txBody>
        </p:sp>
      </p:grpSp>
      <p:sp>
        <p:nvSpPr>
          <p:cNvPr id="5" name="Title 1">
            <a:extLst>
              <a:ext uri="{FF2B5EF4-FFF2-40B4-BE49-F238E27FC236}">
                <a16:creationId xmlns:a16="http://schemas.microsoft.com/office/drawing/2014/main" id="{B1EDF185-E240-6870-104F-DEB094926F87}"/>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Instances of dual or multiple residence</a:t>
            </a:r>
            <a:endParaRPr sz="2400" dirty="0"/>
          </a:p>
        </p:txBody>
      </p:sp>
    </p:spTree>
    <p:extLst>
      <p:ext uri="{BB962C8B-B14F-4D97-AF65-F5344CB8AC3E}">
        <p14:creationId xmlns:p14="http://schemas.microsoft.com/office/powerpoint/2010/main" val="364876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4775666"/>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n most </a:t>
            </a:r>
            <a:r>
              <a:rPr lang="en-BE" dirty="0" err="1">
                <a:solidFill>
                  <a:schemeClr val="bg2"/>
                </a:solidFill>
                <a:latin typeface="Arial" panose="020B0604020202020204" pitchFamily="34" charset="0"/>
              </a:rPr>
              <a:t>DTTs</a:t>
            </a:r>
            <a:r>
              <a:rPr lang="en-BE" dirty="0">
                <a:solidFill>
                  <a:schemeClr val="bg2"/>
                </a:solidFill>
                <a:latin typeface="Arial" panose="020B0604020202020204" pitchFamily="34" charset="0"/>
              </a:rPr>
              <a:t> concluded by Belgium, “</a:t>
            </a:r>
            <a:r>
              <a:rPr lang="en-BE" b="1" dirty="0">
                <a:solidFill>
                  <a:schemeClr val="bg2"/>
                </a:solidFill>
                <a:latin typeface="Arial" panose="020B0604020202020204" pitchFamily="34" charset="0"/>
              </a:rPr>
              <a:t>place of effective management</a:t>
            </a:r>
            <a:r>
              <a:rPr lang="en-BE" dirty="0">
                <a:solidFill>
                  <a:schemeClr val="bg2"/>
                </a:solidFill>
                <a:latin typeface="Arial" panose="020B0604020202020204" pitchFamily="34" charset="0"/>
              </a:rPr>
              <a:t>” (POEM) remains decisive</a:t>
            </a:r>
            <a:endParaRPr lang="nl-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Belgium did not opt to apply article 4 MLI (MAP) </a:t>
            </a:r>
            <a:endParaRPr lang="nl-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POEM rarely defined in DTT (exception: DTT concluded with Armenia and the Netherlands not yet in force)</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Belgian Courts always interpret POEM in same manner as principal establishment </a:t>
            </a:r>
            <a:endParaRPr lang="nl-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800" dirty="0">
                <a:solidFill>
                  <a:schemeClr val="bg2"/>
                </a:solidFill>
                <a:latin typeface="Arial" panose="020B0604020202020204" pitchFamily="34" charset="0"/>
              </a:rPr>
              <a:t>POEM also relevant for e.g. article 15,§3 OECD MC </a:t>
            </a:r>
            <a:r>
              <a:rPr lang="nl-BE" sz="1800" dirty="0">
                <a:solidFill>
                  <a:schemeClr val="bg2"/>
                </a:solidFill>
                <a:latin typeface="Arial" panose="020B0604020202020204" pitchFamily="34" charset="0"/>
              </a:rPr>
              <a:t>2014 </a:t>
            </a:r>
            <a:r>
              <a:rPr lang="en-BE" sz="1800" dirty="0">
                <a:solidFill>
                  <a:schemeClr val="bg2"/>
                </a:solidFill>
                <a:latin typeface="Arial" panose="020B0604020202020204" pitchFamily="34" charset="0"/>
              </a:rPr>
              <a:t>– burden of proof more flexible</a:t>
            </a:r>
            <a:endParaRPr lang="nl-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No transparency regarding decisive facts or number of </a:t>
            </a:r>
            <a:r>
              <a:rPr lang="en-BE" dirty="0" err="1">
                <a:solidFill>
                  <a:schemeClr val="bg2"/>
                </a:solidFill>
                <a:latin typeface="Arial" panose="020B0604020202020204" pitchFamily="34" charset="0"/>
              </a:rPr>
              <a:t>MAPs</a:t>
            </a:r>
            <a:r>
              <a:rPr lang="en-BE" dirty="0">
                <a:solidFill>
                  <a:schemeClr val="bg2"/>
                </a:solidFill>
                <a:latin typeface="Arial" panose="020B0604020202020204" pitchFamily="34" charset="0"/>
              </a:rPr>
              <a:t> in case of interpretation disputes POEM </a:t>
            </a:r>
          </a:p>
          <a:p>
            <a:pPr marL="285750" indent="-285750">
              <a:spcAft>
                <a:spcPts val="600"/>
              </a:spcAft>
              <a:buClr>
                <a:srgbClr val="00B0F0"/>
              </a:buClr>
              <a:buFont typeface="Arial" panose="020B0604020202020204" pitchFamily="34" charset="0"/>
              <a:buChar char="•"/>
            </a:pP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8" name="Title 1">
            <a:extLst>
              <a:ext uri="{FF2B5EF4-FFF2-40B4-BE49-F238E27FC236}">
                <a16:creationId xmlns:a16="http://schemas.microsoft.com/office/drawing/2014/main" id="{52524F4D-C6CE-03D2-4C30-5CACED0AC391}"/>
              </a:ext>
            </a:extLst>
          </p:cNvPr>
          <p:cNvSpPr txBox="1">
            <a:spLocks noGrp="1"/>
          </p:cNvSpPr>
          <p:nvPr>
            <p:ph type="title"/>
          </p:nvPr>
        </p:nvSpPr>
        <p:spPr>
          <a:xfrm>
            <a:off x="265113" y="298450"/>
            <a:ext cx="9647237" cy="288925"/>
          </a:xfrm>
          <a:prstGeom prst="rect">
            <a:avLst/>
          </a:prstGeom>
        </p:spPr>
        <p:txBody>
          <a:bodyPr/>
          <a:lstStyle>
            <a:lvl1pPr defTabSz="813816"/>
          </a:lstStyle>
          <a:p>
            <a:r>
              <a:rPr lang="en-US" sz="2400" dirty="0"/>
              <a:t>Solving instances of dual or multiple residence</a:t>
            </a:r>
            <a:endParaRPr sz="2400" dirty="0"/>
          </a:p>
        </p:txBody>
      </p:sp>
      <p:graphicFrame>
        <p:nvGraphicFramePr>
          <p:cNvPr id="12" name="Chart 11">
            <a:extLst>
              <a:ext uri="{FF2B5EF4-FFF2-40B4-BE49-F238E27FC236}">
                <a16:creationId xmlns:a16="http://schemas.microsoft.com/office/drawing/2014/main" id="{95A8A8E7-DE9B-3876-797E-28E79255568B}"/>
              </a:ext>
            </a:extLst>
          </p:cNvPr>
          <p:cNvGraphicFramePr/>
          <p:nvPr>
            <p:extLst>
              <p:ext uri="{D42A27DB-BD31-4B8C-83A1-F6EECF244321}">
                <p14:modId xmlns:p14="http://schemas.microsoft.com/office/powerpoint/2010/main" val="246073710"/>
              </p:ext>
            </p:extLst>
          </p:nvPr>
        </p:nvGraphicFramePr>
        <p:xfrm>
          <a:off x="5330372" y="926495"/>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8114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898503"/>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MAP: </a:t>
            </a:r>
          </a:p>
          <a:p>
            <a:pPr marL="508000" lvl="1" indent="-285750">
              <a:spcAft>
                <a:spcPts val="600"/>
              </a:spcAft>
              <a:buClr>
                <a:srgbClr val="00B0F0"/>
              </a:buClr>
            </a:pPr>
            <a:r>
              <a:rPr lang="en-BE" sz="1400" dirty="0">
                <a:solidFill>
                  <a:schemeClr val="bg2"/>
                </a:solidFill>
                <a:latin typeface="Arial" panose="020B0604020202020204" pitchFamily="34" charset="0"/>
              </a:rPr>
              <a:t>E.g. DTT concluded with Canada, Japan, US</a:t>
            </a:r>
          </a:p>
          <a:p>
            <a:pPr marL="508000" lvl="1" indent="-285750">
              <a:spcAft>
                <a:spcPts val="600"/>
              </a:spcAft>
              <a:buClr>
                <a:srgbClr val="00B0F0"/>
              </a:buClr>
            </a:pPr>
            <a:r>
              <a:rPr lang="en-BE" sz="1400" dirty="0">
                <a:solidFill>
                  <a:schemeClr val="bg2"/>
                </a:solidFill>
                <a:latin typeface="Arial" panose="020B0604020202020204" pitchFamily="34" charset="0"/>
              </a:rPr>
              <a:t>Usually no criteria identified that must be considered</a:t>
            </a:r>
          </a:p>
          <a:p>
            <a:pPr marL="508000" lvl="1" indent="-285750">
              <a:spcAft>
                <a:spcPts val="600"/>
              </a:spcAft>
              <a:buClr>
                <a:srgbClr val="00B0F0"/>
              </a:buClr>
            </a:pPr>
            <a:r>
              <a:rPr lang="en-BE" sz="1400" dirty="0">
                <a:solidFill>
                  <a:schemeClr val="bg2"/>
                </a:solidFill>
                <a:latin typeface="Arial" panose="020B0604020202020204" pitchFamily="34" charset="0"/>
              </a:rPr>
              <a:t>No binding solution</a:t>
            </a:r>
          </a:p>
          <a:p>
            <a:pPr marL="508000" lvl="1" indent="-285750">
              <a:spcAft>
                <a:spcPts val="600"/>
              </a:spcAft>
              <a:buClr>
                <a:srgbClr val="00B0F0"/>
              </a:buClr>
            </a:pPr>
            <a:r>
              <a:rPr lang="en-BE" sz="1400" dirty="0">
                <a:solidFill>
                  <a:schemeClr val="bg2"/>
                </a:solidFill>
                <a:latin typeface="Arial" panose="020B0604020202020204" pitchFamily="34" charset="0"/>
              </a:rPr>
              <a:t>No timing: exception DTT </a:t>
            </a:r>
            <a:r>
              <a:rPr lang="nl-BE" sz="1400" dirty="0" err="1">
                <a:solidFill>
                  <a:schemeClr val="bg2"/>
                </a:solidFill>
                <a:latin typeface="Arial" panose="020B0604020202020204" pitchFamily="34" charset="0"/>
              </a:rPr>
              <a:t>concluded</a:t>
            </a:r>
            <a:r>
              <a:rPr lang="nl-BE" sz="1400" dirty="0">
                <a:solidFill>
                  <a:schemeClr val="bg2"/>
                </a:solidFill>
                <a:latin typeface="Arial" panose="020B0604020202020204" pitchFamily="34" charset="0"/>
              </a:rPr>
              <a:t> </a:t>
            </a:r>
            <a:r>
              <a:rPr lang="en-BE" sz="1400" dirty="0">
                <a:solidFill>
                  <a:schemeClr val="bg2"/>
                </a:solidFill>
                <a:latin typeface="Arial" panose="020B0604020202020204" pitchFamily="34" charset="0"/>
              </a:rPr>
              <a:t>with Mexico</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Hierarchy of test: </a:t>
            </a:r>
            <a:endParaRPr lang="en-BE" sz="1400" dirty="0">
              <a:solidFill>
                <a:schemeClr val="bg2"/>
              </a:solidFill>
              <a:latin typeface="Arial" panose="020B0604020202020204" pitchFamily="34" charset="0"/>
            </a:endParaRPr>
          </a:p>
          <a:p>
            <a:pPr marL="508000" lvl="1" indent="-285750">
              <a:spcAft>
                <a:spcPts val="600"/>
              </a:spcAft>
              <a:buClr>
                <a:srgbClr val="00B0F0"/>
              </a:buClr>
            </a:pPr>
            <a:r>
              <a:rPr lang="en-BE" sz="1400" dirty="0">
                <a:solidFill>
                  <a:schemeClr val="bg2"/>
                </a:solidFill>
                <a:latin typeface="Arial" panose="020B0604020202020204" pitchFamily="34" charset="0"/>
              </a:rPr>
              <a:t>E.g. DTT concluded with China, Korea, Singapore</a:t>
            </a:r>
          </a:p>
          <a:p>
            <a:pPr marL="508000" lvl="1" indent="-285750">
              <a:spcAft>
                <a:spcPts val="600"/>
              </a:spcAft>
              <a:buClr>
                <a:srgbClr val="00B0F0"/>
              </a:buClr>
            </a:pPr>
            <a:r>
              <a:rPr lang="en-BE" sz="1400" dirty="0">
                <a:solidFill>
                  <a:schemeClr val="bg2"/>
                </a:solidFill>
                <a:latin typeface="Arial" panose="020B0604020202020204" pitchFamily="34" charset="0"/>
              </a:rPr>
              <a:t>POEM mostly first test</a:t>
            </a:r>
          </a:p>
          <a:p>
            <a:pPr marL="508000" lvl="1" indent="-285750">
              <a:spcAft>
                <a:spcPts val="600"/>
              </a:spcAft>
              <a:buClr>
                <a:srgbClr val="00B0F0"/>
              </a:buClr>
            </a:pPr>
            <a:r>
              <a:rPr lang="en-BE" sz="1400" dirty="0">
                <a:solidFill>
                  <a:schemeClr val="bg2"/>
                </a:solidFill>
                <a:latin typeface="Arial" panose="020B0604020202020204" pitchFamily="34" charset="0"/>
              </a:rPr>
              <a:t>MAP “shall” settle question </a:t>
            </a:r>
          </a:p>
          <a:p>
            <a:pPr marL="285750" indent="-285750">
              <a:spcAft>
                <a:spcPts val="600"/>
              </a:spcAft>
              <a:buClr>
                <a:srgbClr val="00B0F0"/>
              </a:buClr>
              <a:buFont typeface="Arial" panose="020B0604020202020204" pitchFamily="34" charset="0"/>
              <a:buChar char="•"/>
            </a:pP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8" name="Title 1">
            <a:extLst>
              <a:ext uri="{FF2B5EF4-FFF2-40B4-BE49-F238E27FC236}">
                <a16:creationId xmlns:a16="http://schemas.microsoft.com/office/drawing/2014/main" id="{52524F4D-C6CE-03D2-4C30-5CACED0AC391}"/>
              </a:ext>
            </a:extLst>
          </p:cNvPr>
          <p:cNvSpPr txBox="1">
            <a:spLocks noGrp="1"/>
          </p:cNvSpPr>
          <p:nvPr>
            <p:ph type="title"/>
          </p:nvPr>
        </p:nvSpPr>
        <p:spPr>
          <a:xfrm>
            <a:off x="265113" y="298450"/>
            <a:ext cx="9647237" cy="288925"/>
          </a:xfrm>
          <a:prstGeom prst="rect">
            <a:avLst/>
          </a:prstGeom>
        </p:spPr>
        <p:txBody>
          <a:bodyPr/>
          <a:lstStyle>
            <a:lvl1pPr defTabSz="813816"/>
          </a:lstStyle>
          <a:p>
            <a:r>
              <a:rPr lang="en-US" sz="2400" dirty="0"/>
              <a:t>Solving instances of dual or multiple residence</a:t>
            </a:r>
            <a:endParaRPr sz="2400" dirty="0"/>
          </a:p>
        </p:txBody>
      </p:sp>
      <p:graphicFrame>
        <p:nvGraphicFramePr>
          <p:cNvPr id="12" name="Chart 11">
            <a:extLst>
              <a:ext uri="{FF2B5EF4-FFF2-40B4-BE49-F238E27FC236}">
                <a16:creationId xmlns:a16="http://schemas.microsoft.com/office/drawing/2014/main" id="{95A8A8E7-DE9B-3876-797E-28E79255568B}"/>
              </a:ext>
            </a:extLst>
          </p:cNvPr>
          <p:cNvGraphicFramePr/>
          <p:nvPr/>
        </p:nvGraphicFramePr>
        <p:xfrm>
          <a:off x="5330372" y="926495"/>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2567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787152-B1CE-BAF7-603A-881BD68E00BD}"/>
              </a:ext>
            </a:extLst>
          </p:cNvPr>
          <p:cNvSpPr>
            <a:spLocks noGrp="1"/>
          </p:cNvSpPr>
          <p:nvPr>
            <p:ph type="body" sz="quarter" idx="10"/>
          </p:nvPr>
        </p:nvSpPr>
        <p:spPr>
          <a:xfrm>
            <a:off x="1019436" y="1452563"/>
            <a:ext cx="5616624" cy="2144177"/>
          </a:xfrm>
        </p:spPr>
        <p:txBody>
          <a:bodyPr/>
          <a:lstStyle/>
          <a:p>
            <a:pPr marL="442595" indent="-442595"/>
            <a:r>
              <a:rPr lang="en-GB" dirty="0">
                <a:cs typeface="Arial"/>
              </a:rPr>
              <a:t>Introduction</a:t>
            </a:r>
          </a:p>
          <a:p>
            <a:pPr marL="442595" indent="-442595"/>
            <a:r>
              <a:rPr lang="en-GB" dirty="0">
                <a:cs typeface="Arial"/>
              </a:rPr>
              <a:t>The concept of residency for purposes of Belgian income tax law</a:t>
            </a:r>
          </a:p>
          <a:p>
            <a:pPr marL="442595" indent="-442595"/>
            <a:r>
              <a:rPr lang="en-GB" dirty="0">
                <a:cs typeface="Arial"/>
              </a:rPr>
              <a:t>The concept of residency for purposes of a DTT</a:t>
            </a:r>
          </a:p>
          <a:p>
            <a:pPr marL="442595" indent="-442595"/>
            <a:r>
              <a:rPr lang="en-GB" dirty="0">
                <a:cs typeface="Arial"/>
              </a:rPr>
              <a:t>Solving instances of double/multiple residency</a:t>
            </a:r>
          </a:p>
          <a:p>
            <a:pPr marL="442595" indent="-442595"/>
            <a:r>
              <a:rPr lang="en-GB" dirty="0">
                <a:cs typeface="Arial"/>
              </a:rPr>
              <a:t>Assessment of the function of tax residence and concluding remarks </a:t>
            </a:r>
            <a:r>
              <a:rPr lang="en-GB" dirty="0"/>
              <a:t>	</a:t>
            </a:r>
          </a:p>
        </p:txBody>
      </p:sp>
      <p:sp>
        <p:nvSpPr>
          <p:cNvPr id="7" name="Title 6">
            <a:extLst>
              <a:ext uri="{FF2B5EF4-FFF2-40B4-BE49-F238E27FC236}">
                <a16:creationId xmlns:a16="http://schemas.microsoft.com/office/drawing/2014/main" id="{50426C57-2427-2736-2CC0-3CF826FFA37A}"/>
              </a:ext>
            </a:extLst>
          </p:cNvPr>
          <p:cNvSpPr>
            <a:spLocks noGrp="1"/>
          </p:cNvSpPr>
          <p:nvPr>
            <p:ph type="title"/>
          </p:nvPr>
        </p:nvSpPr>
        <p:spPr/>
        <p:txBody>
          <a:bodyPr/>
          <a:lstStyle/>
          <a:p>
            <a:r>
              <a:rPr lang="en-GB" dirty="0"/>
              <a:t>Agenda</a:t>
            </a:r>
          </a:p>
        </p:txBody>
      </p:sp>
      <p:pic>
        <p:nvPicPr>
          <p:cNvPr id="16" name="Picture 15">
            <a:extLst>
              <a:ext uri="{FF2B5EF4-FFF2-40B4-BE49-F238E27FC236}">
                <a16:creationId xmlns:a16="http://schemas.microsoft.com/office/drawing/2014/main" id="{AD3E3506-2498-965A-47A8-DC3759A63BC2}"/>
              </a:ext>
            </a:extLst>
          </p:cNvPr>
          <p:cNvPicPr>
            <a:picLocks noChangeAspect="1"/>
          </p:cNvPicPr>
          <p:nvPr/>
        </p:nvPicPr>
        <p:blipFill>
          <a:blip r:embed="rId2"/>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37274237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3">
            <a:extLst>
              <a:ext uri="{FF2B5EF4-FFF2-40B4-BE49-F238E27FC236}">
                <a16:creationId xmlns:a16="http://schemas.microsoft.com/office/drawing/2014/main" id="{4B2CA252-6B18-2EF5-F6BE-0992193EF102}"/>
              </a:ext>
            </a:extLst>
          </p:cNvPr>
          <p:cNvGrpSpPr/>
          <p:nvPr/>
        </p:nvGrpSpPr>
        <p:grpSpPr>
          <a:xfrm>
            <a:off x="7032172" y="805543"/>
            <a:ext cx="4901284" cy="5755594"/>
            <a:chOff x="263526" y="987576"/>
            <a:chExt cx="5545134" cy="5249712"/>
          </a:xfrm>
        </p:grpSpPr>
        <p:sp>
          <p:nvSpPr>
            <p:cNvPr id="3" name="Text Box 8">
              <a:extLst>
                <a:ext uri="{FF2B5EF4-FFF2-40B4-BE49-F238E27FC236}">
                  <a16:creationId xmlns:a16="http://schemas.microsoft.com/office/drawing/2014/main" id="{13AE4A0C-68C0-80B0-D346-6B7907892087}"/>
                </a:ext>
              </a:extLst>
            </p:cNvPr>
            <p:cNvSpPr txBox="1">
              <a:spLocks/>
            </p:cNvSpPr>
            <p:nvPr/>
          </p:nvSpPr>
          <p:spPr>
            <a:xfrm>
              <a:off x="263526"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 name="Graphic 9">
              <a:extLst>
                <a:ext uri="{FF2B5EF4-FFF2-40B4-BE49-F238E27FC236}">
                  <a16:creationId xmlns:a16="http://schemas.microsoft.com/office/drawing/2014/main" id="{C702BEA3-D351-A91C-559D-6DFC05A22CDC}"/>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5109091"/>
          </a:xfrm>
        </p:spPr>
        <p:txBody>
          <a:bodyPr/>
          <a:lstStyle/>
          <a:p>
            <a:pPr>
              <a:spcAft>
                <a:spcPts val="600"/>
              </a:spcAft>
              <a:buClr>
                <a:srgbClr val="00B0F0"/>
              </a:buClr>
            </a:pPr>
            <a:r>
              <a:rPr lang="en-BE" b="1" dirty="0">
                <a:solidFill>
                  <a:schemeClr val="accent2"/>
                </a:solidFill>
                <a:latin typeface="Arial" panose="020B0604020202020204" pitchFamily="34" charset="0"/>
              </a:rPr>
              <a:t>Facts</a:t>
            </a:r>
          </a:p>
          <a:p>
            <a:pPr marL="285750" indent="-285750">
              <a:spcAft>
                <a:spcPts val="600"/>
              </a:spcAft>
              <a:buClr>
                <a:srgbClr val="00B0F0"/>
              </a:buClr>
              <a:buFont typeface="Arial" panose="020B0604020202020204" pitchFamily="34" charset="0"/>
              <a:buChar char="•"/>
            </a:pP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has statutory seat in Luxembourg.</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General shareholders meeting held in Luxembourg.</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Luxembourg tax residence certificate.</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Luxembourg bank account.</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Accounts prepared by Luxembourg accountancy firm.</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Belgian resident (X) is sole director of </a:t>
            </a: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Financial accounts of </a:t>
            </a: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found in Belgium.</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X has no contractual relationship with </a:t>
            </a:r>
            <a:r>
              <a:rPr lang="en-BE" sz="1400" dirty="0" err="1">
                <a:solidFill>
                  <a:schemeClr val="bg2"/>
                </a:solidFill>
                <a:latin typeface="Arial" panose="020B0604020202020204" pitchFamily="34" charset="0"/>
              </a:rPr>
              <a:t>Belco</a:t>
            </a:r>
            <a:r>
              <a:rPr lang="en-BE" sz="1400" dirty="0">
                <a:solidFill>
                  <a:schemeClr val="bg2"/>
                </a:solidFill>
                <a:latin typeface="Arial" panose="020B0604020202020204" pitchFamily="34" charset="0"/>
              </a:rPr>
              <a:t> but X has an office, parking and telephone available at </a:t>
            </a:r>
            <a:r>
              <a:rPr lang="en-BE" sz="1400" dirty="0" err="1">
                <a:solidFill>
                  <a:schemeClr val="bg2"/>
                </a:solidFill>
                <a:latin typeface="Arial" panose="020B0604020202020204" pitchFamily="34" charset="0"/>
              </a:rPr>
              <a:t>Belco’s</a:t>
            </a:r>
            <a:r>
              <a:rPr lang="en-BE" sz="1400" dirty="0">
                <a:solidFill>
                  <a:schemeClr val="bg2"/>
                </a:solidFill>
                <a:latin typeface="Arial" panose="020B0604020202020204" pitchFamily="34" charset="0"/>
              </a:rPr>
              <a:t> premisses, and factually works for </a:t>
            </a:r>
            <a:r>
              <a:rPr lang="en-BE" sz="1400" dirty="0" err="1">
                <a:solidFill>
                  <a:schemeClr val="bg2"/>
                </a:solidFill>
                <a:latin typeface="Arial" panose="020B0604020202020204" pitchFamily="34" charset="0"/>
              </a:rPr>
              <a:t>Belco</a:t>
            </a:r>
            <a:r>
              <a:rPr lang="en-BE" sz="1400" dirty="0">
                <a:solidFill>
                  <a:schemeClr val="bg2"/>
                </a:solidFill>
                <a:latin typeface="Arial" panose="020B0604020202020204" pitchFamily="34" charset="0"/>
              </a:rPr>
              <a:t> </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X regularly (daily) present in Belgium and serves mainly Belgian clients. </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Seat of </a:t>
            </a: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is situated at address of accountancy firm where 126 other companies are registered.</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Correspondence automatically forwarded to X.</a:t>
            </a:r>
          </a:p>
          <a:p>
            <a:pPr marL="285750" indent="-285750">
              <a:spcAft>
                <a:spcPts val="600"/>
              </a:spcAft>
              <a:buClr>
                <a:srgbClr val="00B0F0"/>
              </a:buClr>
              <a:buFont typeface="Arial" panose="020B0604020202020204" pitchFamily="34" charset="0"/>
              <a:buChar char="•"/>
            </a:pPr>
            <a:endParaRPr lang="nl-BE" dirty="0">
              <a:solidFill>
                <a:schemeClr val="bg2"/>
              </a:solidFill>
              <a:latin typeface="Arial" panose="020B0604020202020204" pitchFamily="34" charset="0"/>
            </a:endParaRPr>
          </a:p>
        </p:txBody>
      </p:sp>
      <p:sp>
        <p:nvSpPr>
          <p:cNvPr id="55" name="TextBox 54">
            <a:extLst>
              <a:ext uri="{FF2B5EF4-FFF2-40B4-BE49-F238E27FC236}">
                <a16:creationId xmlns:a16="http://schemas.microsoft.com/office/drawing/2014/main" id="{A8D7466A-F51B-97DA-92E8-AE11D074C619}"/>
              </a:ext>
            </a:extLst>
          </p:cNvPr>
          <p:cNvSpPr txBox="1"/>
          <p:nvPr/>
        </p:nvSpPr>
        <p:spPr>
          <a:xfrm>
            <a:off x="7163079" y="1084619"/>
            <a:ext cx="4639469" cy="184666"/>
          </a:xfrm>
          <a:prstGeom prst="rect">
            <a:avLst/>
          </a:prstGeom>
          <a:noFill/>
        </p:spPr>
        <p:txBody>
          <a:bodyPr wrap="square" lIns="0" tIns="0" rIns="0" bIns="0" rtlCol="0">
            <a:spAutoFit/>
          </a:bodyPr>
          <a:lstStyle/>
          <a:p>
            <a:r>
              <a:rPr lang="nl-BE" sz="1200" b="1" dirty="0">
                <a:solidFill>
                  <a:schemeClr val="accent2"/>
                </a:solidFill>
                <a:latin typeface="+mj-lt"/>
              </a:rPr>
              <a:t>GHENT 10 OCTOBER 2023</a:t>
            </a:r>
            <a:endParaRPr lang="en-BE" sz="1200" b="1" dirty="0">
              <a:solidFill>
                <a:schemeClr val="accent2"/>
              </a:solidFill>
              <a:latin typeface="+mj-lt"/>
            </a:endParaRPr>
          </a:p>
        </p:txBody>
      </p:sp>
      <p:sp>
        <p:nvSpPr>
          <p:cNvPr id="8" name="Title 1">
            <a:extLst>
              <a:ext uri="{FF2B5EF4-FFF2-40B4-BE49-F238E27FC236}">
                <a16:creationId xmlns:a16="http://schemas.microsoft.com/office/drawing/2014/main" id="{4BD609F6-2B6B-6FB9-B5F3-CA7CEB934EBB}"/>
              </a:ext>
            </a:extLst>
          </p:cNvPr>
          <p:cNvSpPr txBox="1">
            <a:spLocks noGrp="1"/>
          </p:cNvSpPr>
          <p:nvPr>
            <p:ph type="title"/>
          </p:nvPr>
        </p:nvSpPr>
        <p:spPr>
          <a:xfrm>
            <a:off x="300037" y="296863"/>
            <a:ext cx="8892310" cy="313932"/>
          </a:xfrm>
          <a:prstGeom prst="rect">
            <a:avLst/>
          </a:prstGeom>
        </p:spPr>
        <p:txBody>
          <a:bodyPr/>
          <a:lstStyle>
            <a:lvl1pPr defTabSz="813816"/>
          </a:lstStyle>
          <a:p>
            <a:r>
              <a:rPr lang="en-US" sz="2400" dirty="0"/>
              <a:t>Solving instances of dual or multiple residence</a:t>
            </a:r>
            <a:endParaRPr sz="2400" dirty="0"/>
          </a:p>
        </p:txBody>
      </p:sp>
      <p:grpSp>
        <p:nvGrpSpPr>
          <p:cNvPr id="20" name="Group 19">
            <a:extLst>
              <a:ext uri="{FF2B5EF4-FFF2-40B4-BE49-F238E27FC236}">
                <a16:creationId xmlns:a16="http://schemas.microsoft.com/office/drawing/2014/main" id="{BA2B216C-3420-E9E8-BEEB-649B173713D5}"/>
              </a:ext>
            </a:extLst>
          </p:cNvPr>
          <p:cNvGrpSpPr/>
          <p:nvPr/>
        </p:nvGrpSpPr>
        <p:grpSpPr>
          <a:xfrm>
            <a:off x="7524761" y="1899687"/>
            <a:ext cx="4150610" cy="3429513"/>
            <a:chOff x="7505442" y="1241297"/>
            <a:chExt cx="4150610" cy="3429513"/>
          </a:xfrm>
        </p:grpSpPr>
        <p:grpSp>
          <p:nvGrpSpPr>
            <p:cNvPr id="14" name="Group 13">
              <a:extLst>
                <a:ext uri="{FF2B5EF4-FFF2-40B4-BE49-F238E27FC236}">
                  <a16:creationId xmlns:a16="http://schemas.microsoft.com/office/drawing/2014/main" id="{D39C7E14-8BCF-FEBF-8153-9F9274FF9557}"/>
                </a:ext>
              </a:extLst>
            </p:cNvPr>
            <p:cNvGrpSpPr/>
            <p:nvPr/>
          </p:nvGrpSpPr>
          <p:grpSpPr>
            <a:xfrm>
              <a:off x="7561428" y="1805993"/>
              <a:ext cx="4094624" cy="2864817"/>
              <a:chOff x="7638937" y="1013732"/>
              <a:chExt cx="4094624" cy="2864817"/>
            </a:xfrm>
          </p:grpSpPr>
          <p:sp>
            <p:nvSpPr>
              <p:cNvPr id="6" name="Rectangle 120">
                <a:extLst>
                  <a:ext uri="{FF2B5EF4-FFF2-40B4-BE49-F238E27FC236}">
                    <a16:creationId xmlns:a16="http://schemas.microsoft.com/office/drawing/2014/main" id="{A834FC14-8655-5EA0-C866-FA4A96F1F420}"/>
                  </a:ext>
                </a:extLst>
              </p:cNvPr>
              <p:cNvSpPr>
                <a:spLocks noChangeArrowheads="1"/>
              </p:cNvSpPr>
              <p:nvPr>
                <p:custDataLst>
                  <p:tags r:id="rId2"/>
                </p:custDataLst>
              </p:nvPr>
            </p:nvSpPr>
            <p:spPr bwMode="auto">
              <a:xfrm>
                <a:off x="8980092" y="3209205"/>
                <a:ext cx="1412314" cy="669344"/>
              </a:xfrm>
              <a:prstGeom prst="rect">
                <a:avLst/>
              </a:prstGeom>
              <a:solidFill>
                <a:schemeClr val="accent1"/>
              </a:solidFill>
              <a:ln>
                <a:no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LUXCO</a:t>
                </a:r>
              </a:p>
            </p:txBody>
          </p:sp>
          <p:pic>
            <p:nvPicPr>
              <p:cNvPr id="9" name="Graphic 8" descr="User with solid fill">
                <a:extLst>
                  <a:ext uri="{FF2B5EF4-FFF2-40B4-BE49-F238E27FC236}">
                    <a16:creationId xmlns:a16="http://schemas.microsoft.com/office/drawing/2014/main" id="{31134D08-D3A5-6F08-E358-0CB447760C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9049" y="1013732"/>
                <a:ext cx="914400" cy="914400"/>
              </a:xfrm>
              <a:prstGeom prst="rect">
                <a:avLst/>
              </a:prstGeom>
              <a:effectLst/>
            </p:spPr>
          </p:pic>
          <p:cxnSp>
            <p:nvCxnSpPr>
              <p:cNvPr id="49" name="Straight Connector 48">
                <a:extLst>
                  <a:ext uri="{FF2B5EF4-FFF2-40B4-BE49-F238E27FC236}">
                    <a16:creationId xmlns:a16="http://schemas.microsoft.com/office/drawing/2014/main" id="{AA0931D2-60DF-7375-A4B4-5E0C795194CD}"/>
                  </a:ext>
                </a:extLst>
              </p:cNvPr>
              <p:cNvCxnSpPr/>
              <p:nvPr/>
            </p:nvCxnSpPr>
            <p:spPr>
              <a:xfrm>
                <a:off x="7638937" y="2492828"/>
                <a:ext cx="409462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3E09930-46C1-3472-5027-14962929E939}"/>
                  </a:ext>
                </a:extLst>
              </p:cNvPr>
              <p:cNvPicPr>
                <a:picLocks noChangeAspect="1"/>
              </p:cNvPicPr>
              <p:nvPr/>
            </p:nvPicPr>
            <p:blipFill>
              <a:blip r:embed="rId7"/>
              <a:stretch>
                <a:fillRect/>
              </a:stretch>
            </p:blipFill>
            <p:spPr>
              <a:xfrm>
                <a:off x="11437610" y="2062505"/>
                <a:ext cx="295951" cy="295951"/>
              </a:xfrm>
              <a:prstGeom prst="rect">
                <a:avLst/>
              </a:prstGeom>
              <a:solidFill>
                <a:schemeClr val="bg1">
                  <a:lumMod val="75000"/>
                </a:schemeClr>
              </a:solidFill>
              <a:ln>
                <a:solidFill>
                  <a:schemeClr val="bg1">
                    <a:lumMod val="50000"/>
                  </a:schemeClr>
                </a:solidFill>
              </a:ln>
              <a:effectLst/>
            </p:spPr>
          </p:pic>
        </p:grpSp>
        <p:sp>
          <p:nvSpPr>
            <p:cNvPr id="10" name="Rectangle 120">
              <a:extLst>
                <a:ext uri="{FF2B5EF4-FFF2-40B4-BE49-F238E27FC236}">
                  <a16:creationId xmlns:a16="http://schemas.microsoft.com/office/drawing/2014/main" id="{A309B419-00E5-575F-208D-8940D7597AF3}"/>
                </a:ext>
              </a:extLst>
            </p:cNvPr>
            <p:cNvSpPr>
              <a:spLocks noChangeArrowheads="1"/>
            </p:cNvSpPr>
            <p:nvPr>
              <p:custDataLst>
                <p:tags r:id="rId1"/>
              </p:custDataLst>
            </p:nvPr>
          </p:nvSpPr>
          <p:spPr bwMode="auto">
            <a:xfrm>
              <a:off x="7505442" y="1327735"/>
              <a:ext cx="1412314" cy="669344"/>
            </a:xfrm>
            <a:prstGeom prst="rect">
              <a:avLst/>
            </a:prstGeom>
            <a:solidFill>
              <a:schemeClr val="bg1">
                <a:lumMod val="75000"/>
              </a:schemeClr>
            </a:solidFill>
            <a:ln>
              <a:no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BELCO</a:t>
              </a:r>
            </a:p>
          </p:txBody>
        </p:sp>
        <p:cxnSp>
          <p:nvCxnSpPr>
            <p:cNvPr id="15" name="Straight Arrow Connector 14">
              <a:extLst>
                <a:ext uri="{FF2B5EF4-FFF2-40B4-BE49-F238E27FC236}">
                  <a16:creationId xmlns:a16="http://schemas.microsoft.com/office/drawing/2014/main" id="{565D5B45-64AE-948C-A266-A6980BDD8F71}"/>
                </a:ext>
              </a:extLst>
            </p:cNvPr>
            <p:cNvCxnSpPr/>
            <p:nvPr/>
          </p:nvCxnSpPr>
          <p:spPr>
            <a:xfrm>
              <a:off x="9589180" y="2720393"/>
              <a:ext cx="0" cy="1144036"/>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78C4EA-EAF3-C913-7913-78AB86E5AF8E}"/>
                </a:ext>
              </a:extLst>
            </p:cNvPr>
            <p:cNvSpPr txBox="1"/>
            <p:nvPr/>
          </p:nvSpPr>
          <p:spPr>
            <a:xfrm>
              <a:off x="9713799" y="3572911"/>
              <a:ext cx="696686" cy="153888"/>
            </a:xfrm>
            <a:prstGeom prst="rect">
              <a:avLst/>
            </a:prstGeom>
            <a:noFill/>
          </p:spPr>
          <p:txBody>
            <a:bodyPr wrap="square" lIns="0" tIns="0" rIns="0" bIns="0" rtlCol="0">
              <a:spAutoFit/>
            </a:bodyPr>
            <a:lstStyle/>
            <a:p>
              <a:r>
                <a:rPr lang="nl-BE" sz="1000" dirty="0">
                  <a:solidFill>
                    <a:schemeClr val="accent1"/>
                  </a:solidFill>
                </a:rPr>
                <a:t>Director</a:t>
              </a:r>
              <a:endParaRPr lang="en-BE" sz="1000" dirty="0" err="1">
                <a:solidFill>
                  <a:schemeClr val="accent1"/>
                </a:solidFill>
              </a:endParaRPr>
            </a:p>
          </p:txBody>
        </p:sp>
        <p:pic>
          <p:nvPicPr>
            <p:cNvPr id="17" name="Graphic 16" descr="Work from home desk with solid fill">
              <a:extLst>
                <a:ext uri="{FF2B5EF4-FFF2-40B4-BE49-F238E27FC236}">
                  <a16:creationId xmlns:a16="http://schemas.microsoft.com/office/drawing/2014/main" id="{60A9133C-07E0-E6FD-7C1E-209A9C8F04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44712" y="1241297"/>
              <a:ext cx="664028" cy="664028"/>
            </a:xfrm>
            <a:prstGeom prst="rect">
              <a:avLst/>
            </a:prstGeom>
            <a:effectLst/>
          </p:spPr>
        </p:pic>
        <p:cxnSp>
          <p:nvCxnSpPr>
            <p:cNvPr id="19" name="Straight Arrow Connector 18">
              <a:extLst>
                <a:ext uri="{FF2B5EF4-FFF2-40B4-BE49-F238E27FC236}">
                  <a16:creationId xmlns:a16="http://schemas.microsoft.com/office/drawing/2014/main" id="{96F3145A-95DD-D705-D9FB-1AFBC61989E1}"/>
                </a:ext>
              </a:extLst>
            </p:cNvPr>
            <p:cNvCxnSpPr/>
            <p:nvPr/>
          </p:nvCxnSpPr>
          <p:spPr>
            <a:xfrm flipH="1" flipV="1">
              <a:off x="9024257" y="1997079"/>
              <a:ext cx="168090" cy="266114"/>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16021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3">
            <a:extLst>
              <a:ext uri="{FF2B5EF4-FFF2-40B4-BE49-F238E27FC236}">
                <a16:creationId xmlns:a16="http://schemas.microsoft.com/office/drawing/2014/main" id="{4B2CA252-6B18-2EF5-F6BE-0992193EF102}"/>
              </a:ext>
            </a:extLst>
          </p:cNvPr>
          <p:cNvGrpSpPr/>
          <p:nvPr/>
        </p:nvGrpSpPr>
        <p:grpSpPr>
          <a:xfrm>
            <a:off x="7032172" y="805543"/>
            <a:ext cx="4901284" cy="5755594"/>
            <a:chOff x="263526" y="987576"/>
            <a:chExt cx="5545134" cy="5249712"/>
          </a:xfrm>
        </p:grpSpPr>
        <p:sp>
          <p:nvSpPr>
            <p:cNvPr id="3" name="Text Box 8">
              <a:extLst>
                <a:ext uri="{FF2B5EF4-FFF2-40B4-BE49-F238E27FC236}">
                  <a16:creationId xmlns:a16="http://schemas.microsoft.com/office/drawing/2014/main" id="{13AE4A0C-68C0-80B0-D346-6B7907892087}"/>
                </a:ext>
              </a:extLst>
            </p:cNvPr>
            <p:cNvSpPr txBox="1">
              <a:spLocks/>
            </p:cNvSpPr>
            <p:nvPr/>
          </p:nvSpPr>
          <p:spPr>
            <a:xfrm>
              <a:off x="263526"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 name="Graphic 9">
              <a:extLst>
                <a:ext uri="{FF2B5EF4-FFF2-40B4-BE49-F238E27FC236}">
                  <a16:creationId xmlns:a16="http://schemas.microsoft.com/office/drawing/2014/main" id="{C702BEA3-D351-A91C-559D-6DFC05A22CDC}"/>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200876"/>
          </a:xfrm>
        </p:spPr>
        <p:txBody>
          <a:bodyPr/>
          <a:lstStyle/>
          <a:p>
            <a:pPr>
              <a:spcAft>
                <a:spcPts val="600"/>
              </a:spcAft>
              <a:buClr>
                <a:srgbClr val="00B0F0"/>
              </a:buClr>
            </a:pPr>
            <a:r>
              <a:rPr lang="en-BE" b="1" dirty="0">
                <a:solidFill>
                  <a:schemeClr val="accent2"/>
                </a:solidFill>
                <a:latin typeface="Arial" panose="020B0604020202020204" pitchFamily="34" charset="0"/>
              </a:rPr>
              <a:t>Judgement </a:t>
            </a: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Renting an office space at the premises of an accountancy firm (that is not exclusively at the disposal of </a:t>
            </a: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does not demonstrate presence of governing body and management decisions at that place</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Sufficient proof that governing body is </a:t>
            </a:r>
            <a:r>
              <a:rPr lang="nl-BE" sz="1400" dirty="0" err="1">
                <a:solidFill>
                  <a:schemeClr val="bg2"/>
                </a:solidFill>
                <a:latin typeface="Arial" panose="020B0604020202020204" pitchFamily="34" charset="0"/>
              </a:rPr>
              <a:t>regularly</a:t>
            </a:r>
            <a:r>
              <a:rPr lang="nl-BE" sz="1400" dirty="0">
                <a:solidFill>
                  <a:schemeClr val="bg2"/>
                </a:solidFill>
                <a:latin typeface="Arial" panose="020B0604020202020204" pitchFamily="34" charset="0"/>
              </a:rPr>
              <a:t> </a:t>
            </a:r>
            <a:r>
              <a:rPr lang="en-BE" sz="1400" dirty="0">
                <a:solidFill>
                  <a:schemeClr val="bg2"/>
                </a:solidFill>
                <a:latin typeface="Arial" panose="020B0604020202020204" pitchFamily="34" charset="0"/>
              </a:rPr>
              <a:t>present in Belgium</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400" dirty="0">
                <a:solidFill>
                  <a:schemeClr val="bg2"/>
                </a:solidFill>
                <a:latin typeface="Arial" panose="020B0604020202020204" pitchFamily="34" charset="0"/>
              </a:rPr>
              <a:t>No </a:t>
            </a:r>
            <a:r>
              <a:rPr lang="nl-BE" sz="1400" dirty="0" err="1">
                <a:solidFill>
                  <a:schemeClr val="bg2"/>
                </a:solidFill>
                <a:latin typeface="Arial" panose="020B0604020202020204" pitchFamily="34" charset="0"/>
              </a:rPr>
              <a:t>proof</a:t>
            </a:r>
            <a:r>
              <a:rPr lang="nl-BE" sz="1400" dirty="0">
                <a:solidFill>
                  <a:schemeClr val="bg2"/>
                </a:solidFill>
                <a:latin typeface="Arial" panose="020B0604020202020204" pitchFamily="34" charset="0"/>
              </a:rPr>
              <a:t> of </a:t>
            </a:r>
            <a:r>
              <a:rPr lang="nl-BE" sz="1400" dirty="0" err="1">
                <a:solidFill>
                  <a:schemeClr val="bg2"/>
                </a:solidFill>
                <a:latin typeface="Arial" panose="020B0604020202020204" pitchFamily="34" charset="0"/>
              </a:rPr>
              <a:t>activity</a:t>
            </a:r>
            <a:r>
              <a:rPr lang="nl-BE" sz="1400" dirty="0">
                <a:solidFill>
                  <a:schemeClr val="bg2"/>
                </a:solidFill>
                <a:latin typeface="Arial" panose="020B0604020202020204" pitchFamily="34" charset="0"/>
              </a:rPr>
              <a:t> in </a:t>
            </a:r>
            <a:r>
              <a:rPr lang="nl-BE" sz="1400" dirty="0" err="1">
                <a:solidFill>
                  <a:schemeClr val="bg2"/>
                </a:solidFill>
                <a:latin typeface="Arial" panose="020B0604020202020204" pitchFamily="34" charset="0"/>
              </a:rPr>
              <a:t>Luxebourg</a:t>
            </a:r>
            <a:r>
              <a:rPr lang="nl-BE" sz="1400" dirty="0">
                <a:solidFill>
                  <a:schemeClr val="bg2"/>
                </a:solidFill>
                <a:latin typeface="Arial" panose="020B0604020202020204" pitchFamily="34" charset="0"/>
              </a:rPr>
              <a:t> or </a:t>
            </a:r>
            <a:r>
              <a:rPr lang="nl-BE" sz="1400" dirty="0" err="1">
                <a:solidFill>
                  <a:schemeClr val="bg2"/>
                </a:solidFill>
                <a:latin typeface="Arial" panose="020B0604020202020204" pitchFamily="34" charset="0"/>
              </a:rPr>
              <a:t>other</a:t>
            </a:r>
            <a:r>
              <a:rPr lang="nl-BE" sz="1400" dirty="0">
                <a:solidFill>
                  <a:schemeClr val="bg2"/>
                </a:solidFill>
                <a:latin typeface="Arial" panose="020B0604020202020204" pitchFamily="34" charset="0"/>
              </a:rPr>
              <a:t> </a:t>
            </a:r>
            <a:r>
              <a:rPr lang="nl-BE" sz="1400" dirty="0" err="1">
                <a:solidFill>
                  <a:schemeClr val="bg2"/>
                </a:solidFill>
                <a:latin typeface="Arial" panose="020B0604020202020204" pitchFamily="34" charset="0"/>
              </a:rPr>
              <a:t>counterproof</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is tax resident in Belgium according to article 2 ITC</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is tax resident of Belgium and Luxembourg according to article 4,§1 DTT</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sz="1400" dirty="0" err="1">
                <a:solidFill>
                  <a:schemeClr val="bg2"/>
                </a:solidFill>
                <a:latin typeface="Arial" panose="020B0604020202020204" pitchFamily="34" charset="0"/>
              </a:rPr>
              <a:t>Luxco</a:t>
            </a:r>
            <a:r>
              <a:rPr lang="en-BE" sz="1400" dirty="0">
                <a:solidFill>
                  <a:schemeClr val="bg2"/>
                </a:solidFill>
                <a:latin typeface="Arial" panose="020B0604020202020204" pitchFamily="34" charset="0"/>
              </a:rPr>
              <a:t> has place of effective management in Belgium pursuant to article 4,§3 DTT</a:t>
            </a:r>
            <a:r>
              <a:rPr lang="nl-BE" sz="1400" dirty="0">
                <a:solidFill>
                  <a:schemeClr val="bg2"/>
                </a:solidFill>
                <a:latin typeface="Arial" panose="020B0604020202020204" pitchFamily="34" charset="0"/>
              </a:rPr>
              <a:t>. </a:t>
            </a:r>
            <a:endParaRPr lang="en-BE" dirty="0">
              <a:solidFill>
                <a:schemeClr val="bg2"/>
              </a:solidFill>
              <a:latin typeface="Arial" panose="020B0604020202020204" pitchFamily="34" charset="0"/>
            </a:endParaRPr>
          </a:p>
        </p:txBody>
      </p:sp>
      <p:sp>
        <p:nvSpPr>
          <p:cNvPr id="55" name="TextBox 54">
            <a:extLst>
              <a:ext uri="{FF2B5EF4-FFF2-40B4-BE49-F238E27FC236}">
                <a16:creationId xmlns:a16="http://schemas.microsoft.com/office/drawing/2014/main" id="{A8D7466A-F51B-97DA-92E8-AE11D074C619}"/>
              </a:ext>
            </a:extLst>
          </p:cNvPr>
          <p:cNvSpPr txBox="1"/>
          <p:nvPr/>
        </p:nvSpPr>
        <p:spPr>
          <a:xfrm>
            <a:off x="7163079" y="1084619"/>
            <a:ext cx="4639469" cy="184666"/>
          </a:xfrm>
          <a:prstGeom prst="rect">
            <a:avLst/>
          </a:prstGeom>
          <a:noFill/>
        </p:spPr>
        <p:txBody>
          <a:bodyPr wrap="square" lIns="0" tIns="0" rIns="0" bIns="0" rtlCol="0">
            <a:spAutoFit/>
          </a:bodyPr>
          <a:lstStyle/>
          <a:p>
            <a:r>
              <a:rPr lang="nl-BE" sz="1200" b="1" dirty="0">
                <a:solidFill>
                  <a:schemeClr val="accent2"/>
                </a:solidFill>
                <a:latin typeface="+mj-lt"/>
              </a:rPr>
              <a:t>GHENT 10 OCTOBER 2023</a:t>
            </a:r>
            <a:endParaRPr lang="en-BE" sz="1200" b="1" dirty="0">
              <a:solidFill>
                <a:schemeClr val="accent2"/>
              </a:solidFill>
              <a:latin typeface="+mj-lt"/>
            </a:endParaRPr>
          </a:p>
        </p:txBody>
      </p:sp>
      <p:sp>
        <p:nvSpPr>
          <p:cNvPr id="8" name="Title 1">
            <a:extLst>
              <a:ext uri="{FF2B5EF4-FFF2-40B4-BE49-F238E27FC236}">
                <a16:creationId xmlns:a16="http://schemas.microsoft.com/office/drawing/2014/main" id="{4BD609F6-2B6B-6FB9-B5F3-CA7CEB934EBB}"/>
              </a:ext>
            </a:extLst>
          </p:cNvPr>
          <p:cNvSpPr txBox="1">
            <a:spLocks noGrp="1"/>
          </p:cNvSpPr>
          <p:nvPr>
            <p:ph type="title"/>
          </p:nvPr>
        </p:nvSpPr>
        <p:spPr>
          <a:xfrm>
            <a:off x="300037" y="296863"/>
            <a:ext cx="8892310" cy="313932"/>
          </a:xfrm>
          <a:prstGeom prst="rect">
            <a:avLst/>
          </a:prstGeom>
        </p:spPr>
        <p:txBody>
          <a:bodyPr/>
          <a:lstStyle>
            <a:lvl1pPr defTabSz="813816"/>
          </a:lstStyle>
          <a:p>
            <a:r>
              <a:rPr lang="en-US" sz="2400" dirty="0"/>
              <a:t>Solving instances of dual or multiple residence</a:t>
            </a:r>
            <a:endParaRPr sz="2400" dirty="0"/>
          </a:p>
        </p:txBody>
      </p:sp>
      <p:grpSp>
        <p:nvGrpSpPr>
          <p:cNvPr id="20" name="Group 19">
            <a:extLst>
              <a:ext uri="{FF2B5EF4-FFF2-40B4-BE49-F238E27FC236}">
                <a16:creationId xmlns:a16="http://schemas.microsoft.com/office/drawing/2014/main" id="{BA2B216C-3420-E9E8-BEEB-649B173713D5}"/>
              </a:ext>
            </a:extLst>
          </p:cNvPr>
          <p:cNvGrpSpPr/>
          <p:nvPr/>
        </p:nvGrpSpPr>
        <p:grpSpPr>
          <a:xfrm>
            <a:off x="7524761" y="1899687"/>
            <a:ext cx="4150610" cy="3429513"/>
            <a:chOff x="7505442" y="1241297"/>
            <a:chExt cx="4150610" cy="3429513"/>
          </a:xfrm>
        </p:grpSpPr>
        <p:grpSp>
          <p:nvGrpSpPr>
            <p:cNvPr id="14" name="Group 13">
              <a:extLst>
                <a:ext uri="{FF2B5EF4-FFF2-40B4-BE49-F238E27FC236}">
                  <a16:creationId xmlns:a16="http://schemas.microsoft.com/office/drawing/2014/main" id="{D39C7E14-8BCF-FEBF-8153-9F9274FF9557}"/>
                </a:ext>
              </a:extLst>
            </p:cNvPr>
            <p:cNvGrpSpPr/>
            <p:nvPr/>
          </p:nvGrpSpPr>
          <p:grpSpPr>
            <a:xfrm>
              <a:off x="7561428" y="1805993"/>
              <a:ext cx="4094624" cy="2864817"/>
              <a:chOff x="7638937" y="1013732"/>
              <a:chExt cx="4094624" cy="2864817"/>
            </a:xfrm>
          </p:grpSpPr>
          <p:sp>
            <p:nvSpPr>
              <p:cNvPr id="6" name="Rectangle 120">
                <a:extLst>
                  <a:ext uri="{FF2B5EF4-FFF2-40B4-BE49-F238E27FC236}">
                    <a16:creationId xmlns:a16="http://schemas.microsoft.com/office/drawing/2014/main" id="{A834FC14-8655-5EA0-C866-FA4A96F1F420}"/>
                  </a:ext>
                </a:extLst>
              </p:cNvPr>
              <p:cNvSpPr>
                <a:spLocks noChangeArrowheads="1"/>
              </p:cNvSpPr>
              <p:nvPr>
                <p:custDataLst>
                  <p:tags r:id="rId2"/>
                </p:custDataLst>
              </p:nvPr>
            </p:nvSpPr>
            <p:spPr bwMode="auto">
              <a:xfrm>
                <a:off x="8980092" y="3209205"/>
                <a:ext cx="1412314" cy="669344"/>
              </a:xfrm>
              <a:prstGeom prst="rect">
                <a:avLst/>
              </a:prstGeom>
              <a:solidFill>
                <a:schemeClr val="accent1"/>
              </a:solidFill>
              <a:ln>
                <a:no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LUXCO</a:t>
                </a:r>
              </a:p>
            </p:txBody>
          </p:sp>
          <p:pic>
            <p:nvPicPr>
              <p:cNvPr id="9" name="Graphic 8" descr="User with solid fill">
                <a:extLst>
                  <a:ext uri="{FF2B5EF4-FFF2-40B4-BE49-F238E27FC236}">
                    <a16:creationId xmlns:a16="http://schemas.microsoft.com/office/drawing/2014/main" id="{31134D08-D3A5-6F08-E358-0CB447760C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9049" y="1013732"/>
                <a:ext cx="914400" cy="914400"/>
              </a:xfrm>
              <a:prstGeom prst="rect">
                <a:avLst/>
              </a:prstGeom>
              <a:effectLst/>
            </p:spPr>
          </p:pic>
          <p:cxnSp>
            <p:nvCxnSpPr>
              <p:cNvPr id="49" name="Straight Connector 48">
                <a:extLst>
                  <a:ext uri="{FF2B5EF4-FFF2-40B4-BE49-F238E27FC236}">
                    <a16:creationId xmlns:a16="http://schemas.microsoft.com/office/drawing/2014/main" id="{AA0931D2-60DF-7375-A4B4-5E0C795194CD}"/>
                  </a:ext>
                </a:extLst>
              </p:cNvPr>
              <p:cNvCxnSpPr/>
              <p:nvPr/>
            </p:nvCxnSpPr>
            <p:spPr>
              <a:xfrm>
                <a:off x="7638937" y="2492828"/>
                <a:ext cx="409462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3E09930-46C1-3472-5027-14962929E939}"/>
                  </a:ext>
                </a:extLst>
              </p:cNvPr>
              <p:cNvPicPr>
                <a:picLocks noChangeAspect="1"/>
              </p:cNvPicPr>
              <p:nvPr/>
            </p:nvPicPr>
            <p:blipFill>
              <a:blip r:embed="rId7"/>
              <a:stretch>
                <a:fillRect/>
              </a:stretch>
            </p:blipFill>
            <p:spPr>
              <a:xfrm>
                <a:off x="11437610" y="2062505"/>
                <a:ext cx="295951" cy="295951"/>
              </a:xfrm>
              <a:prstGeom prst="rect">
                <a:avLst/>
              </a:prstGeom>
              <a:solidFill>
                <a:schemeClr val="bg1">
                  <a:lumMod val="75000"/>
                </a:schemeClr>
              </a:solidFill>
              <a:ln>
                <a:solidFill>
                  <a:schemeClr val="bg1">
                    <a:lumMod val="50000"/>
                  </a:schemeClr>
                </a:solidFill>
              </a:ln>
              <a:effectLst/>
            </p:spPr>
          </p:pic>
        </p:grpSp>
        <p:sp>
          <p:nvSpPr>
            <p:cNvPr id="10" name="Rectangle 120">
              <a:extLst>
                <a:ext uri="{FF2B5EF4-FFF2-40B4-BE49-F238E27FC236}">
                  <a16:creationId xmlns:a16="http://schemas.microsoft.com/office/drawing/2014/main" id="{A309B419-00E5-575F-208D-8940D7597AF3}"/>
                </a:ext>
              </a:extLst>
            </p:cNvPr>
            <p:cNvSpPr>
              <a:spLocks noChangeArrowheads="1"/>
            </p:cNvSpPr>
            <p:nvPr>
              <p:custDataLst>
                <p:tags r:id="rId1"/>
              </p:custDataLst>
            </p:nvPr>
          </p:nvSpPr>
          <p:spPr bwMode="auto">
            <a:xfrm>
              <a:off x="7505442" y="1327735"/>
              <a:ext cx="1412314" cy="669344"/>
            </a:xfrm>
            <a:prstGeom prst="rect">
              <a:avLst/>
            </a:prstGeom>
            <a:solidFill>
              <a:schemeClr val="bg1">
                <a:lumMod val="75000"/>
              </a:schemeClr>
            </a:solidFill>
            <a:ln>
              <a:no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BELCO</a:t>
              </a:r>
            </a:p>
          </p:txBody>
        </p:sp>
        <p:cxnSp>
          <p:nvCxnSpPr>
            <p:cNvPr id="15" name="Straight Arrow Connector 14">
              <a:extLst>
                <a:ext uri="{FF2B5EF4-FFF2-40B4-BE49-F238E27FC236}">
                  <a16:creationId xmlns:a16="http://schemas.microsoft.com/office/drawing/2014/main" id="{565D5B45-64AE-948C-A266-A6980BDD8F71}"/>
                </a:ext>
              </a:extLst>
            </p:cNvPr>
            <p:cNvCxnSpPr/>
            <p:nvPr/>
          </p:nvCxnSpPr>
          <p:spPr>
            <a:xfrm>
              <a:off x="9589180" y="2720393"/>
              <a:ext cx="0" cy="1144036"/>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78C4EA-EAF3-C913-7913-78AB86E5AF8E}"/>
                </a:ext>
              </a:extLst>
            </p:cNvPr>
            <p:cNvSpPr txBox="1"/>
            <p:nvPr/>
          </p:nvSpPr>
          <p:spPr>
            <a:xfrm>
              <a:off x="9713799" y="3572911"/>
              <a:ext cx="696686" cy="153888"/>
            </a:xfrm>
            <a:prstGeom prst="rect">
              <a:avLst/>
            </a:prstGeom>
            <a:noFill/>
          </p:spPr>
          <p:txBody>
            <a:bodyPr wrap="square" lIns="0" tIns="0" rIns="0" bIns="0" rtlCol="0">
              <a:spAutoFit/>
            </a:bodyPr>
            <a:lstStyle/>
            <a:p>
              <a:r>
                <a:rPr lang="nl-BE" sz="1000" dirty="0">
                  <a:solidFill>
                    <a:schemeClr val="accent1"/>
                  </a:solidFill>
                </a:rPr>
                <a:t>Director</a:t>
              </a:r>
              <a:endParaRPr lang="en-BE" sz="1000" dirty="0" err="1">
                <a:solidFill>
                  <a:schemeClr val="accent1"/>
                </a:solidFill>
              </a:endParaRPr>
            </a:p>
          </p:txBody>
        </p:sp>
        <p:pic>
          <p:nvPicPr>
            <p:cNvPr id="17" name="Graphic 16" descr="Work from home desk with solid fill">
              <a:extLst>
                <a:ext uri="{FF2B5EF4-FFF2-40B4-BE49-F238E27FC236}">
                  <a16:creationId xmlns:a16="http://schemas.microsoft.com/office/drawing/2014/main" id="{60A9133C-07E0-E6FD-7C1E-209A9C8F04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44712" y="1241297"/>
              <a:ext cx="664028" cy="664028"/>
            </a:xfrm>
            <a:prstGeom prst="rect">
              <a:avLst/>
            </a:prstGeom>
            <a:effectLst/>
          </p:spPr>
        </p:pic>
        <p:cxnSp>
          <p:nvCxnSpPr>
            <p:cNvPr id="19" name="Straight Arrow Connector 18">
              <a:extLst>
                <a:ext uri="{FF2B5EF4-FFF2-40B4-BE49-F238E27FC236}">
                  <a16:creationId xmlns:a16="http://schemas.microsoft.com/office/drawing/2014/main" id="{96F3145A-95DD-D705-D9FB-1AFBC61989E1}"/>
                </a:ext>
              </a:extLst>
            </p:cNvPr>
            <p:cNvCxnSpPr/>
            <p:nvPr/>
          </p:nvCxnSpPr>
          <p:spPr>
            <a:xfrm flipH="1" flipV="1">
              <a:off x="9024257" y="1997079"/>
              <a:ext cx="168090" cy="266114"/>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4099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ue screen with a map of the world&#10;&#10;Description automatically generated">
            <a:extLst>
              <a:ext uri="{FF2B5EF4-FFF2-40B4-BE49-F238E27FC236}">
                <a16:creationId xmlns:a16="http://schemas.microsoft.com/office/drawing/2014/main" id="{561BD27F-5DD7-4CE8-6940-E177CF211B42}"/>
              </a:ext>
            </a:extLst>
          </p:cNvPr>
          <p:cNvPicPr>
            <a:picLocks noChangeAspect="1"/>
          </p:cNvPicPr>
          <p:nvPr/>
        </p:nvPicPr>
        <p:blipFill>
          <a:blip r:embed="rId3"/>
          <a:stretch>
            <a:fillRect/>
          </a:stretch>
        </p:blipFill>
        <p:spPr>
          <a:xfrm>
            <a:off x="271272" y="773049"/>
            <a:ext cx="11649456" cy="5827776"/>
          </a:xfrm>
          <a:prstGeom prst="rect">
            <a:avLst/>
          </a:prstGeom>
        </p:spPr>
      </p:pic>
      <p:sp>
        <p:nvSpPr>
          <p:cNvPr id="5" name="Rectangle 4">
            <a:extLst>
              <a:ext uri="{FF2B5EF4-FFF2-40B4-BE49-F238E27FC236}">
                <a16:creationId xmlns:a16="http://schemas.microsoft.com/office/drawing/2014/main" id="{C4895216-D58D-8F9A-07B3-1D1B4AF182D1}"/>
              </a:ext>
            </a:extLst>
          </p:cNvPr>
          <p:cNvSpPr/>
          <p:nvPr/>
        </p:nvSpPr>
        <p:spPr>
          <a:xfrm>
            <a:off x="271462" y="771525"/>
            <a:ext cx="11649075" cy="5829300"/>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NL" err="1">
              <a:solidFill>
                <a:schemeClr val="bg1"/>
              </a:solidFill>
            </a:endParaRPr>
          </a:p>
        </p:txBody>
      </p:sp>
      <p:sp>
        <p:nvSpPr>
          <p:cNvPr id="6" name="Text Placeholder 2">
            <a:extLst>
              <a:ext uri="{FF2B5EF4-FFF2-40B4-BE49-F238E27FC236}">
                <a16:creationId xmlns:a16="http://schemas.microsoft.com/office/drawing/2014/main" id="{0A07AB43-C587-60E8-F9F1-8FB76673A87E}"/>
              </a:ext>
            </a:extLst>
          </p:cNvPr>
          <p:cNvSpPr txBox="1">
            <a:spLocks/>
          </p:cNvSpPr>
          <p:nvPr/>
        </p:nvSpPr>
        <p:spPr>
          <a:xfrm>
            <a:off x="819411" y="5434013"/>
            <a:ext cx="7324464" cy="1166812"/>
          </a:xfrm>
          <a:prstGeom prst="rect">
            <a:avLst/>
          </a:prstGeom>
        </p:spPr>
        <p:txBody>
          <a:bodyPr/>
          <a:lstStyle>
            <a:lvl1pPr marL="0" indent="0" algn="l" defTabSz="914400" rtl="0" eaLnBrk="1" latinLnBrk="0" hangingPunct="1">
              <a:lnSpc>
                <a:spcPct val="100000"/>
              </a:lnSpc>
              <a:spcBef>
                <a:spcPts val="400"/>
              </a:spcBef>
              <a:buFont typeface="Arial" panose="020B0604020202020204" pitchFamily="34" charset="0"/>
              <a:buNone/>
              <a:defRPr sz="18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6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18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1800" b="1" kern="1200">
                <a:solidFill>
                  <a:schemeClr val="accent2"/>
                </a:solidFill>
                <a:latin typeface="+mn-lt"/>
                <a:ea typeface="+mn-ea"/>
                <a:cs typeface="+mn-cs"/>
              </a:defRPr>
            </a:lvl6pPr>
            <a:lvl7pPr marL="360363" indent="-360363" algn="l" defTabSz="914400" rtl="0" eaLnBrk="1" latinLnBrk="0" hangingPunct="1">
              <a:lnSpc>
                <a:spcPct val="100000"/>
              </a:lnSpc>
              <a:spcBef>
                <a:spcPts val="400"/>
              </a:spcBef>
              <a:buClr>
                <a:schemeClr val="accent2"/>
              </a:buClr>
              <a:buFont typeface="+mj-lt"/>
              <a:buAutoNum type="arabicPeriod"/>
              <a:defRPr sz="1800" kern="1200">
                <a:solidFill>
                  <a:schemeClr val="tx2"/>
                </a:solidFill>
                <a:latin typeface="+mn-lt"/>
                <a:ea typeface="+mn-ea"/>
                <a:cs typeface="+mn-cs"/>
              </a:defRPr>
            </a:lvl7pPr>
            <a:lvl8pPr marL="628650" indent="-268288" algn="l" defTabSz="914400" rtl="0" eaLnBrk="1" latinLnBrk="0" hangingPunct="1">
              <a:lnSpc>
                <a:spcPct val="100000"/>
              </a:lnSpc>
              <a:spcBef>
                <a:spcPts val="400"/>
              </a:spcBef>
              <a:buClr>
                <a:schemeClr val="accent2"/>
              </a:buClr>
              <a:buFont typeface="+mj-lt"/>
              <a:buAutoNum type="alphaLcPeriod"/>
              <a:defRPr sz="1600" kern="1200">
                <a:solidFill>
                  <a:schemeClr val="tx2"/>
                </a:solidFill>
                <a:latin typeface="+mn-lt"/>
                <a:ea typeface="+mn-ea"/>
                <a:cs typeface="+mn-cs"/>
              </a:defRPr>
            </a:lvl8pPr>
            <a:lvl9pPr marL="0" indent="0" algn="l" defTabSz="914400" rtl="0" eaLnBrk="1" latinLnBrk="0" hangingPunct="1">
              <a:lnSpc>
                <a:spcPct val="100000"/>
              </a:lnSpc>
              <a:spcBef>
                <a:spcPts val="400"/>
              </a:spcBef>
              <a:buFont typeface="Arial" panose="020B0604020202020204" pitchFamily="34" charset="0"/>
              <a:buNone/>
              <a:defRPr sz="1800" i="1" kern="1200">
                <a:solidFill>
                  <a:schemeClr val="tx2"/>
                </a:solidFill>
                <a:latin typeface="+mn-lt"/>
                <a:ea typeface="+mn-ea"/>
                <a:cs typeface="+mn-cs"/>
              </a:defRPr>
            </a:lvl9pPr>
          </a:lstStyle>
          <a:p>
            <a:pPr>
              <a:lnSpc>
                <a:spcPts val="3600"/>
              </a:lnSpc>
              <a:spcBef>
                <a:spcPts val="0"/>
              </a:spcBef>
              <a:tabLst>
                <a:tab pos="6816725" algn="r"/>
              </a:tabLst>
              <a:defRPr/>
            </a:pPr>
            <a:r>
              <a:rPr lang="en-GB" sz="3200" dirty="0">
                <a:solidFill>
                  <a:srgbClr val="FFFFFF"/>
                </a:solidFill>
                <a:latin typeface="Arial" panose="020B0604020202020204" pitchFamily="34" charset="0"/>
                <a:ea typeface="Calibri" panose="020F0502020204030204" pitchFamily="34" charset="0"/>
              </a:rPr>
              <a:t>Assessment and concluding remarks </a:t>
            </a:r>
            <a:endParaRPr lang="en-US" sz="3200" dirty="0">
              <a:solidFill>
                <a:srgbClr val="FFFFFF"/>
              </a:solidFill>
              <a:latin typeface="Arial" panose="020B0604020202020204" pitchFamily="34" charset="0"/>
              <a:ea typeface="Calibri" panose="020F0502020204030204" pitchFamily="34" charset="0"/>
            </a:endParaRPr>
          </a:p>
        </p:txBody>
      </p:sp>
      <p:sp>
        <p:nvSpPr>
          <p:cNvPr id="7" name="Text Placeholder 2">
            <a:extLst>
              <a:ext uri="{FF2B5EF4-FFF2-40B4-BE49-F238E27FC236}">
                <a16:creationId xmlns:a16="http://schemas.microsoft.com/office/drawing/2014/main" id="{94B62C9D-409B-0408-2FD2-311461C94B68}"/>
              </a:ext>
            </a:extLst>
          </p:cNvPr>
          <p:cNvSpPr txBox="1">
            <a:spLocks/>
          </p:cNvSpPr>
          <p:nvPr/>
        </p:nvSpPr>
        <p:spPr>
          <a:xfrm>
            <a:off x="819411" y="4804013"/>
            <a:ext cx="990339" cy="583406"/>
          </a:xfrm>
          <a:prstGeom prst="rect">
            <a:avLst/>
          </a:prstGeom>
        </p:spPr>
        <p:txBody>
          <a:bodyPr/>
          <a:lstStyle>
            <a:lvl1pPr marL="0" indent="0" algn="l" defTabSz="914400" rtl="0" eaLnBrk="1" latinLnBrk="0" hangingPunct="1">
              <a:lnSpc>
                <a:spcPct val="100000"/>
              </a:lnSpc>
              <a:spcBef>
                <a:spcPts val="400"/>
              </a:spcBef>
              <a:buFont typeface="Arial" panose="020B0604020202020204" pitchFamily="34" charset="0"/>
              <a:buNone/>
              <a:defRPr sz="18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6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18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1800" b="1" kern="1200">
                <a:solidFill>
                  <a:schemeClr val="accent2"/>
                </a:solidFill>
                <a:latin typeface="+mn-lt"/>
                <a:ea typeface="+mn-ea"/>
                <a:cs typeface="+mn-cs"/>
              </a:defRPr>
            </a:lvl6pPr>
            <a:lvl7pPr marL="360363" indent="-360363" algn="l" defTabSz="914400" rtl="0" eaLnBrk="1" latinLnBrk="0" hangingPunct="1">
              <a:lnSpc>
                <a:spcPct val="100000"/>
              </a:lnSpc>
              <a:spcBef>
                <a:spcPts val="400"/>
              </a:spcBef>
              <a:buClr>
                <a:schemeClr val="accent2"/>
              </a:buClr>
              <a:buFont typeface="+mj-lt"/>
              <a:buAutoNum type="arabicPeriod"/>
              <a:defRPr sz="1800" kern="1200">
                <a:solidFill>
                  <a:schemeClr val="tx2"/>
                </a:solidFill>
                <a:latin typeface="+mn-lt"/>
                <a:ea typeface="+mn-ea"/>
                <a:cs typeface="+mn-cs"/>
              </a:defRPr>
            </a:lvl7pPr>
            <a:lvl8pPr marL="628650" indent="-268288" algn="l" defTabSz="914400" rtl="0" eaLnBrk="1" latinLnBrk="0" hangingPunct="1">
              <a:lnSpc>
                <a:spcPct val="100000"/>
              </a:lnSpc>
              <a:spcBef>
                <a:spcPts val="400"/>
              </a:spcBef>
              <a:buClr>
                <a:schemeClr val="accent2"/>
              </a:buClr>
              <a:buFont typeface="+mj-lt"/>
              <a:buAutoNum type="alphaLcPeriod"/>
              <a:defRPr sz="1600" kern="1200">
                <a:solidFill>
                  <a:schemeClr val="tx2"/>
                </a:solidFill>
                <a:latin typeface="+mn-lt"/>
                <a:ea typeface="+mn-ea"/>
                <a:cs typeface="+mn-cs"/>
              </a:defRPr>
            </a:lvl8pPr>
            <a:lvl9pPr marL="0" indent="0" algn="l" defTabSz="914400" rtl="0" eaLnBrk="1" latinLnBrk="0" hangingPunct="1">
              <a:lnSpc>
                <a:spcPct val="100000"/>
              </a:lnSpc>
              <a:spcBef>
                <a:spcPts val="400"/>
              </a:spcBef>
              <a:buFont typeface="Arial" panose="020B0604020202020204" pitchFamily="34" charset="0"/>
              <a:buNone/>
              <a:defRPr sz="1800" i="1" kern="1200">
                <a:solidFill>
                  <a:schemeClr val="tx2"/>
                </a:solidFill>
                <a:latin typeface="+mn-lt"/>
                <a:ea typeface="+mn-ea"/>
                <a:cs typeface="+mn-cs"/>
              </a:defRPr>
            </a:lvl9pPr>
          </a:lstStyle>
          <a:p>
            <a:pPr>
              <a:lnSpc>
                <a:spcPts val="3400"/>
              </a:lnSpc>
              <a:spcBef>
                <a:spcPts val="0"/>
              </a:spcBef>
            </a:pPr>
            <a:r>
              <a:rPr lang="en-US" sz="3400" dirty="0">
                <a:solidFill>
                  <a:schemeClr val="bg1"/>
                </a:solidFill>
                <a:latin typeface="Arial Black" panose="020B0A04020102020204" pitchFamily="34" charset="0"/>
                <a:ea typeface="Calibri" panose="020F0502020204030204" pitchFamily="34" charset="0"/>
              </a:rPr>
              <a:t>5.</a:t>
            </a:r>
            <a:endParaRPr lang="en-GB" sz="3400" dirty="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56EDCAE6-672A-1BBE-5516-1BBAAF6BE17A}"/>
              </a:ext>
            </a:extLst>
          </p:cNvPr>
          <p:cNvPicPr>
            <a:picLocks noChangeAspect="1"/>
          </p:cNvPicPr>
          <p:nvPr/>
        </p:nvPicPr>
        <p:blipFill>
          <a:blip r:embed="rId4"/>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2187371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0">
            <a:extLst>
              <a:ext uri="{FF2B5EF4-FFF2-40B4-BE49-F238E27FC236}">
                <a16:creationId xmlns:a16="http://schemas.microsoft.com/office/drawing/2014/main" id="{5CD19893-DB84-8352-4C7B-CA2AB172A052}"/>
              </a:ext>
            </a:extLst>
          </p:cNvPr>
          <p:cNvSpPr/>
          <p:nvPr/>
        </p:nvSpPr>
        <p:spPr>
          <a:xfrm>
            <a:off x="263525" y="765174"/>
            <a:ext cx="11664950" cy="5832475"/>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schemeClr val="bg1"/>
              </a:solidFill>
            </a:endParaRPr>
          </a:p>
        </p:txBody>
      </p:sp>
      <p:sp>
        <p:nvSpPr>
          <p:cNvPr id="55" name="Freeform: Shape 9">
            <a:extLst>
              <a:ext uri="{FF2B5EF4-FFF2-40B4-BE49-F238E27FC236}">
                <a16:creationId xmlns:a16="http://schemas.microsoft.com/office/drawing/2014/main" id="{A3412EC8-E078-1514-ECA5-1F4DF1878D23}"/>
              </a:ext>
            </a:extLst>
          </p:cNvPr>
          <p:cNvSpPr/>
          <p:nvPr/>
        </p:nvSpPr>
        <p:spPr>
          <a:xfrm>
            <a:off x="2819636" y="765098"/>
            <a:ext cx="8424936" cy="5832001"/>
          </a:xfrm>
          <a:custGeom>
            <a:avLst/>
            <a:gdLst>
              <a:gd name="connsiteX0" fmla="*/ 0 w 6217629"/>
              <a:gd name="connsiteY0" fmla="*/ 0 h 5832001"/>
              <a:gd name="connsiteX1" fmla="*/ 2358428 w 6217629"/>
              <a:gd name="connsiteY1" fmla="*/ 0 h 5832001"/>
              <a:gd name="connsiteX2" fmla="*/ 3859202 w 6217629"/>
              <a:gd name="connsiteY2" fmla="*/ 0 h 5832001"/>
              <a:gd name="connsiteX3" fmla="*/ 6217629 w 6217629"/>
              <a:gd name="connsiteY3" fmla="*/ 0 h 5832001"/>
              <a:gd name="connsiteX4" fmla="*/ 6217629 w 6217629"/>
              <a:gd name="connsiteY4" fmla="*/ 5832001 h 5832001"/>
              <a:gd name="connsiteX5" fmla="*/ 3859202 w 6217629"/>
              <a:gd name="connsiteY5" fmla="*/ 5832001 h 5832001"/>
              <a:gd name="connsiteX6" fmla="*/ 2358428 w 6217629"/>
              <a:gd name="connsiteY6" fmla="*/ 5832001 h 5832001"/>
              <a:gd name="connsiteX7" fmla="*/ 0 w 6217629"/>
              <a:gd name="connsiteY7" fmla="*/ 5832001 h 5832001"/>
              <a:gd name="connsiteX8" fmla="*/ 0 w 6217629"/>
              <a:gd name="connsiteY8" fmla="*/ 1308506 h 5832001"/>
              <a:gd name="connsiteX9" fmla="*/ 0 w 6217629"/>
              <a:gd name="connsiteY9" fmla="*/ 1308380 h 5832001"/>
              <a:gd name="connsiteX10" fmla="*/ 377029 w 6217629"/>
              <a:gd name="connsiteY10" fmla="*/ 931718 h 5832001"/>
              <a:gd name="connsiteX11" fmla="*/ 0 w 6217629"/>
              <a:gd name="connsiteY11" fmla="*/ 554802 h 583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17629" h="5832001">
                <a:moveTo>
                  <a:pt x="0" y="0"/>
                </a:moveTo>
                <a:lnTo>
                  <a:pt x="2358428" y="0"/>
                </a:lnTo>
                <a:lnTo>
                  <a:pt x="3859202" y="0"/>
                </a:lnTo>
                <a:lnTo>
                  <a:pt x="6217629" y="0"/>
                </a:lnTo>
                <a:lnTo>
                  <a:pt x="6217629" y="5832001"/>
                </a:lnTo>
                <a:lnTo>
                  <a:pt x="3859202" y="5832001"/>
                </a:lnTo>
                <a:lnTo>
                  <a:pt x="2358428" y="5832001"/>
                </a:lnTo>
                <a:lnTo>
                  <a:pt x="0" y="5832001"/>
                </a:lnTo>
                <a:lnTo>
                  <a:pt x="0" y="1308506"/>
                </a:lnTo>
                <a:cubicBezTo>
                  <a:pt x="0" y="1308469"/>
                  <a:pt x="0" y="1308418"/>
                  <a:pt x="0" y="1308380"/>
                </a:cubicBezTo>
                <a:cubicBezTo>
                  <a:pt x="76" y="1100285"/>
                  <a:pt x="168872" y="931642"/>
                  <a:pt x="377029" y="931718"/>
                </a:cubicBezTo>
                <a:cubicBezTo>
                  <a:pt x="168796" y="931718"/>
                  <a:pt x="0" y="762973"/>
                  <a:pt x="0" y="554802"/>
                </a:cubicBezTo>
                <a:close/>
              </a:path>
            </a:pathLst>
          </a:custGeom>
          <a:solidFill>
            <a:schemeClr val="accent2">
              <a:alpha val="55000"/>
            </a:schemeClr>
          </a:solidFill>
          <a:ln w="12679" cap="flat">
            <a:noFill/>
            <a:prstDash val="solid"/>
            <a:miter/>
          </a:ln>
        </p:spPr>
        <p:txBody>
          <a:bodyPr wrap="square" rtlCol="0" anchor="ctr">
            <a:noAutofit/>
          </a:bodyPr>
          <a:lstStyle/>
          <a:p>
            <a:endParaRPr lang="en-GB"/>
          </a:p>
        </p:txBody>
      </p:sp>
      <p:sp>
        <p:nvSpPr>
          <p:cNvPr id="14" name="Tekstvak 13">
            <a:extLst>
              <a:ext uri="{FF2B5EF4-FFF2-40B4-BE49-F238E27FC236}">
                <a16:creationId xmlns:a16="http://schemas.microsoft.com/office/drawing/2014/main" id="{BED4E2F3-10FD-1A47-3686-3ADD50445CF0}"/>
              </a:ext>
            </a:extLst>
          </p:cNvPr>
          <p:cNvSpPr txBox="1"/>
          <p:nvPr/>
        </p:nvSpPr>
        <p:spPr>
          <a:xfrm>
            <a:off x="555910" y="1463106"/>
            <a:ext cx="2081336" cy="1107996"/>
          </a:xfrm>
          <a:prstGeom prst="rect">
            <a:avLst/>
          </a:prstGeom>
          <a:noFill/>
        </p:spPr>
        <p:txBody>
          <a:bodyPr wrap="square" lIns="0" tIns="0" rIns="0" bIns="0" anchor="t">
            <a:spAutoFit/>
          </a:bodyPr>
          <a:lstStyle/>
          <a:p>
            <a:r>
              <a:rPr lang="en-GB" sz="2400" dirty="0">
                <a:solidFill>
                  <a:schemeClr val="bg1"/>
                </a:solidFill>
                <a:latin typeface="+mj-lt"/>
              </a:rPr>
              <a:t>Assessment and concluding remarks</a:t>
            </a:r>
          </a:p>
        </p:txBody>
      </p:sp>
      <p:grpSp>
        <p:nvGrpSpPr>
          <p:cNvPr id="57" name="Groep 56">
            <a:extLst>
              <a:ext uri="{FF2B5EF4-FFF2-40B4-BE49-F238E27FC236}">
                <a16:creationId xmlns:a16="http://schemas.microsoft.com/office/drawing/2014/main" id="{35F9A749-31EA-6850-8BF8-CED16B8B23E0}"/>
              </a:ext>
            </a:extLst>
          </p:cNvPr>
          <p:cNvGrpSpPr/>
          <p:nvPr/>
        </p:nvGrpSpPr>
        <p:grpSpPr>
          <a:xfrm>
            <a:off x="3388934" y="1463106"/>
            <a:ext cx="8107666" cy="4435985"/>
            <a:chOff x="3388934" y="1309515"/>
            <a:chExt cx="8107666" cy="4435985"/>
          </a:xfrm>
        </p:grpSpPr>
        <p:sp>
          <p:nvSpPr>
            <p:cNvPr id="18" name="Tekstvak 17">
              <a:extLst>
                <a:ext uri="{FF2B5EF4-FFF2-40B4-BE49-F238E27FC236}">
                  <a16:creationId xmlns:a16="http://schemas.microsoft.com/office/drawing/2014/main" id="{6D505A5A-0F85-9A4B-1104-7648AEB57FB7}"/>
                </a:ext>
              </a:extLst>
            </p:cNvPr>
            <p:cNvSpPr txBox="1"/>
            <p:nvPr/>
          </p:nvSpPr>
          <p:spPr>
            <a:xfrm>
              <a:off x="3938948" y="1318748"/>
              <a:ext cx="7128358" cy="646331"/>
            </a:xfrm>
            <a:prstGeom prst="rect">
              <a:avLst/>
            </a:prstGeom>
            <a:noFill/>
          </p:spPr>
          <p:txBody>
            <a:bodyPr wrap="square" anchor="ctr">
              <a:spAutoFit/>
            </a:bodyPr>
            <a:lstStyle/>
            <a:p>
              <a:r>
                <a:rPr lang="en-BE" dirty="0">
                  <a:solidFill>
                    <a:schemeClr val="bg1"/>
                  </a:solidFill>
                </a:rPr>
                <a:t>Corporate residence remains key concept in Belgian and international tax law</a:t>
              </a:r>
            </a:p>
          </p:txBody>
        </p:sp>
        <p:sp>
          <p:nvSpPr>
            <p:cNvPr id="22" name="Tekstvak 21">
              <a:extLst>
                <a:ext uri="{FF2B5EF4-FFF2-40B4-BE49-F238E27FC236}">
                  <a16:creationId xmlns:a16="http://schemas.microsoft.com/office/drawing/2014/main" id="{A1EB7BBC-F44D-BC68-6313-6B128BB34520}"/>
                </a:ext>
              </a:extLst>
            </p:cNvPr>
            <p:cNvSpPr txBox="1"/>
            <p:nvPr/>
          </p:nvSpPr>
          <p:spPr>
            <a:xfrm>
              <a:off x="3388934" y="1309515"/>
              <a:ext cx="480512" cy="664797"/>
            </a:xfrm>
            <a:prstGeom prst="rect">
              <a:avLst/>
            </a:prstGeom>
            <a:noFill/>
          </p:spPr>
          <p:txBody>
            <a:bodyPr wrap="square" lIns="0" tIns="0" rIns="0" bIns="0" anchor="ctr">
              <a:spAutoFit/>
            </a:bodyPr>
            <a:lstStyle/>
            <a:p>
              <a:pPr>
                <a:lnSpc>
                  <a:spcPct val="90000"/>
                </a:lnSpc>
                <a:spcBef>
                  <a:spcPct val="0"/>
                </a:spcBef>
              </a:pPr>
              <a:r>
                <a:rPr lang="en-US" sz="4800" b="1" dirty="0">
                  <a:solidFill>
                    <a:schemeClr val="bg1">
                      <a:alpha val="26000"/>
                    </a:schemeClr>
                  </a:solidFill>
                  <a:latin typeface="+mj-lt"/>
                  <a:ea typeface="+mj-ea"/>
                  <a:cs typeface="+mj-cs"/>
                </a:rPr>
                <a:t>1</a:t>
              </a:r>
            </a:p>
          </p:txBody>
        </p:sp>
        <p:cxnSp>
          <p:nvCxnSpPr>
            <p:cNvPr id="28" name="Rechte verbindingslijn 27">
              <a:extLst>
                <a:ext uri="{FF2B5EF4-FFF2-40B4-BE49-F238E27FC236}">
                  <a16:creationId xmlns:a16="http://schemas.microsoft.com/office/drawing/2014/main" id="{CE106FFE-3223-506D-A467-016CC8E9738E}"/>
                </a:ext>
              </a:extLst>
            </p:cNvPr>
            <p:cNvCxnSpPr>
              <a:cxnSpLocks/>
            </p:cNvCxnSpPr>
            <p:nvPr/>
          </p:nvCxnSpPr>
          <p:spPr>
            <a:xfrm>
              <a:off x="3398962" y="3009776"/>
              <a:ext cx="8028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kstvak 26">
              <a:extLst>
                <a:ext uri="{FF2B5EF4-FFF2-40B4-BE49-F238E27FC236}">
                  <a16:creationId xmlns:a16="http://schemas.microsoft.com/office/drawing/2014/main" id="{454F8DFC-FE61-8698-A448-B174603598A3}"/>
                </a:ext>
              </a:extLst>
            </p:cNvPr>
            <p:cNvSpPr txBox="1"/>
            <p:nvPr/>
          </p:nvSpPr>
          <p:spPr>
            <a:xfrm>
              <a:off x="3938948" y="2369156"/>
              <a:ext cx="7557652" cy="369332"/>
            </a:xfrm>
            <a:prstGeom prst="rect">
              <a:avLst/>
            </a:prstGeom>
            <a:noFill/>
          </p:spPr>
          <p:txBody>
            <a:bodyPr wrap="square" anchor="ctr">
              <a:spAutoFit/>
            </a:bodyPr>
            <a:lstStyle/>
            <a:p>
              <a:r>
                <a:rPr lang="en-BE" dirty="0">
                  <a:solidFill>
                    <a:schemeClr val="bg1"/>
                  </a:solidFill>
                </a:rPr>
                <a:t>Residence taxation nowadays functions as backstop</a:t>
              </a:r>
            </a:p>
          </p:txBody>
        </p:sp>
        <p:sp>
          <p:nvSpPr>
            <p:cNvPr id="29" name="Tekstvak 28">
              <a:extLst>
                <a:ext uri="{FF2B5EF4-FFF2-40B4-BE49-F238E27FC236}">
                  <a16:creationId xmlns:a16="http://schemas.microsoft.com/office/drawing/2014/main" id="{D7F4FE55-ACB5-AE81-8F50-DF9AEA02FE72}"/>
                </a:ext>
              </a:extLst>
            </p:cNvPr>
            <p:cNvSpPr txBox="1"/>
            <p:nvPr/>
          </p:nvSpPr>
          <p:spPr>
            <a:xfrm>
              <a:off x="3388934" y="2221423"/>
              <a:ext cx="480512" cy="664797"/>
            </a:xfrm>
            <a:prstGeom prst="rect">
              <a:avLst/>
            </a:prstGeom>
          </p:spPr>
          <p:txBody>
            <a:bodyPr wrap="square" lIns="0" tIns="0" rIns="0" bIns="0" anchor="ctr">
              <a:spAutoFit/>
            </a:bodyPr>
            <a:lstStyle/>
            <a:p>
              <a:pPr>
                <a:lnSpc>
                  <a:spcPct val="90000"/>
                </a:lnSpc>
                <a:spcBef>
                  <a:spcPct val="0"/>
                </a:spcBef>
              </a:pPr>
              <a:r>
                <a:rPr lang="en-US" sz="4800" b="1" dirty="0">
                  <a:solidFill>
                    <a:schemeClr val="bg1">
                      <a:alpha val="26000"/>
                    </a:schemeClr>
                  </a:solidFill>
                  <a:latin typeface="+mj-lt"/>
                  <a:ea typeface="+mj-ea"/>
                  <a:cs typeface="+mj-cs"/>
                </a:rPr>
                <a:t>2</a:t>
              </a:r>
            </a:p>
          </p:txBody>
        </p:sp>
        <p:cxnSp>
          <p:nvCxnSpPr>
            <p:cNvPr id="32" name="Rechte verbindingslijn 31">
              <a:extLst>
                <a:ext uri="{FF2B5EF4-FFF2-40B4-BE49-F238E27FC236}">
                  <a16:creationId xmlns:a16="http://schemas.microsoft.com/office/drawing/2014/main" id="{C1BD8877-E568-05AF-E561-7452A18E64E4}"/>
                </a:ext>
              </a:extLst>
            </p:cNvPr>
            <p:cNvCxnSpPr>
              <a:cxnSpLocks/>
            </p:cNvCxnSpPr>
            <p:nvPr/>
          </p:nvCxnSpPr>
          <p:spPr>
            <a:xfrm>
              <a:off x="3398962" y="3921684"/>
              <a:ext cx="8028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kstvak 30">
              <a:extLst>
                <a:ext uri="{FF2B5EF4-FFF2-40B4-BE49-F238E27FC236}">
                  <a16:creationId xmlns:a16="http://schemas.microsoft.com/office/drawing/2014/main" id="{590BFAC5-42DA-E285-FB8D-E4796C682274}"/>
                </a:ext>
              </a:extLst>
            </p:cNvPr>
            <p:cNvSpPr txBox="1"/>
            <p:nvPr/>
          </p:nvSpPr>
          <p:spPr>
            <a:xfrm>
              <a:off x="3938948" y="3281064"/>
              <a:ext cx="7128358" cy="369332"/>
            </a:xfrm>
            <a:prstGeom prst="rect">
              <a:avLst/>
            </a:prstGeom>
            <a:noFill/>
          </p:spPr>
          <p:txBody>
            <a:bodyPr wrap="square" anchor="ctr">
              <a:spAutoFit/>
            </a:bodyPr>
            <a:lstStyle/>
            <a:p>
              <a:r>
                <a:rPr lang="en-US" sz="1800" kern="1200" dirty="0">
                  <a:solidFill>
                    <a:prstClr val="white"/>
                  </a:solidFill>
                  <a:latin typeface="Arial" panose="020B0604020202020204"/>
                  <a:ea typeface="+mn-ea"/>
                  <a:cs typeface="+mn-cs"/>
                </a:rPr>
                <a:t>Globalization complicates determination of tax residence</a:t>
              </a:r>
            </a:p>
          </p:txBody>
        </p:sp>
        <p:sp>
          <p:nvSpPr>
            <p:cNvPr id="33" name="Tekstvak 32">
              <a:extLst>
                <a:ext uri="{FF2B5EF4-FFF2-40B4-BE49-F238E27FC236}">
                  <a16:creationId xmlns:a16="http://schemas.microsoft.com/office/drawing/2014/main" id="{7BC263F6-4DEE-0706-71CA-24AF579A6214}"/>
                </a:ext>
              </a:extLst>
            </p:cNvPr>
            <p:cNvSpPr txBox="1"/>
            <p:nvPr/>
          </p:nvSpPr>
          <p:spPr>
            <a:xfrm>
              <a:off x="3388934" y="3133331"/>
              <a:ext cx="480512" cy="664797"/>
            </a:xfrm>
            <a:prstGeom prst="rect">
              <a:avLst/>
            </a:prstGeom>
          </p:spPr>
          <p:txBody>
            <a:bodyPr wrap="square" lIns="0" tIns="0" rIns="0" bIns="0" anchor="ctr">
              <a:spAutoFit/>
            </a:bodyPr>
            <a:lstStyle/>
            <a:p>
              <a:pPr>
                <a:lnSpc>
                  <a:spcPct val="90000"/>
                </a:lnSpc>
                <a:spcBef>
                  <a:spcPct val="0"/>
                </a:spcBef>
              </a:pPr>
              <a:r>
                <a:rPr lang="en-US" sz="4800" b="1" dirty="0">
                  <a:solidFill>
                    <a:schemeClr val="bg1">
                      <a:alpha val="26000"/>
                    </a:schemeClr>
                  </a:solidFill>
                  <a:latin typeface="+mj-lt"/>
                  <a:ea typeface="+mj-ea"/>
                  <a:cs typeface="+mj-cs"/>
                </a:rPr>
                <a:t>3</a:t>
              </a:r>
            </a:p>
          </p:txBody>
        </p:sp>
        <p:cxnSp>
          <p:nvCxnSpPr>
            <p:cNvPr id="36" name="Rechte verbindingslijn 35">
              <a:extLst>
                <a:ext uri="{FF2B5EF4-FFF2-40B4-BE49-F238E27FC236}">
                  <a16:creationId xmlns:a16="http://schemas.microsoft.com/office/drawing/2014/main" id="{433FD9A9-4C9D-B6C2-684A-0DA0AC9AC5E6}"/>
                </a:ext>
              </a:extLst>
            </p:cNvPr>
            <p:cNvCxnSpPr>
              <a:cxnSpLocks/>
            </p:cNvCxnSpPr>
            <p:nvPr/>
          </p:nvCxnSpPr>
          <p:spPr>
            <a:xfrm>
              <a:off x="3398962" y="4833592"/>
              <a:ext cx="8028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kstvak 34">
              <a:extLst>
                <a:ext uri="{FF2B5EF4-FFF2-40B4-BE49-F238E27FC236}">
                  <a16:creationId xmlns:a16="http://schemas.microsoft.com/office/drawing/2014/main" id="{E5F709A3-89BB-94F4-03C2-CF865CC7ED70}"/>
                </a:ext>
              </a:extLst>
            </p:cNvPr>
            <p:cNvSpPr txBox="1"/>
            <p:nvPr/>
          </p:nvSpPr>
          <p:spPr>
            <a:xfrm>
              <a:off x="3938948" y="4192971"/>
              <a:ext cx="7128358" cy="369332"/>
            </a:xfrm>
            <a:prstGeom prst="rect">
              <a:avLst/>
            </a:prstGeom>
            <a:noFill/>
          </p:spPr>
          <p:txBody>
            <a:bodyPr wrap="square" anchor="ctr">
              <a:spAutoFit/>
            </a:bodyPr>
            <a:lstStyle/>
            <a:p>
              <a:r>
                <a:rPr lang="en-BE" sz="1800" kern="1200" noProof="0" dirty="0">
                  <a:solidFill>
                    <a:srgbClr val="FFFFFF"/>
                  </a:solidFill>
                  <a:latin typeface="Arial" panose="020B0604020202020204"/>
                  <a:ea typeface="+mn-ea"/>
                  <a:cs typeface="+mn-cs"/>
                </a:rPr>
                <a:t>Robust residence remains necessary to achieve underlying purpose</a:t>
              </a:r>
            </a:p>
          </p:txBody>
        </p:sp>
        <p:sp>
          <p:nvSpPr>
            <p:cNvPr id="37" name="Tekstvak 36">
              <a:extLst>
                <a:ext uri="{FF2B5EF4-FFF2-40B4-BE49-F238E27FC236}">
                  <a16:creationId xmlns:a16="http://schemas.microsoft.com/office/drawing/2014/main" id="{A60A4F24-D37E-27C2-3ADD-04DA07E46B54}"/>
                </a:ext>
              </a:extLst>
            </p:cNvPr>
            <p:cNvSpPr txBox="1"/>
            <p:nvPr/>
          </p:nvSpPr>
          <p:spPr>
            <a:xfrm>
              <a:off x="3388934" y="4045239"/>
              <a:ext cx="480512" cy="664797"/>
            </a:xfrm>
            <a:prstGeom prst="rect">
              <a:avLst/>
            </a:prstGeom>
            <a:noFill/>
          </p:spPr>
          <p:txBody>
            <a:bodyPr wrap="square" lIns="0" tIns="0" rIns="0" bIns="0" anchor="ctr">
              <a:spAutoFit/>
            </a:bodyPr>
            <a:lstStyle/>
            <a:p>
              <a:pPr>
                <a:lnSpc>
                  <a:spcPct val="90000"/>
                </a:lnSpc>
                <a:spcBef>
                  <a:spcPct val="0"/>
                </a:spcBef>
              </a:pPr>
              <a:r>
                <a:rPr lang="en-US" sz="4800" b="1" dirty="0">
                  <a:solidFill>
                    <a:schemeClr val="bg1">
                      <a:alpha val="26000"/>
                    </a:schemeClr>
                  </a:solidFill>
                  <a:latin typeface="+mj-lt"/>
                  <a:ea typeface="+mj-ea"/>
                  <a:cs typeface="+mj-cs"/>
                </a:rPr>
                <a:t>4</a:t>
              </a:r>
            </a:p>
          </p:txBody>
        </p:sp>
        <p:cxnSp>
          <p:nvCxnSpPr>
            <p:cNvPr id="20" name="Rechte verbindingslijn 19">
              <a:extLst>
                <a:ext uri="{FF2B5EF4-FFF2-40B4-BE49-F238E27FC236}">
                  <a16:creationId xmlns:a16="http://schemas.microsoft.com/office/drawing/2014/main" id="{E45136A8-7336-BB60-B7C8-1B115FA93273}"/>
                </a:ext>
              </a:extLst>
            </p:cNvPr>
            <p:cNvCxnSpPr>
              <a:cxnSpLocks/>
            </p:cNvCxnSpPr>
            <p:nvPr/>
          </p:nvCxnSpPr>
          <p:spPr>
            <a:xfrm>
              <a:off x="3398962" y="2097868"/>
              <a:ext cx="8028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6C8AA187-9429-A47F-50C6-342444F7C481}"/>
                </a:ext>
              </a:extLst>
            </p:cNvPr>
            <p:cNvCxnSpPr>
              <a:cxnSpLocks/>
            </p:cNvCxnSpPr>
            <p:nvPr/>
          </p:nvCxnSpPr>
          <p:spPr>
            <a:xfrm>
              <a:off x="3398962" y="5745500"/>
              <a:ext cx="8028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Tekstvak 41">
              <a:extLst>
                <a:ext uri="{FF2B5EF4-FFF2-40B4-BE49-F238E27FC236}">
                  <a16:creationId xmlns:a16="http://schemas.microsoft.com/office/drawing/2014/main" id="{FEE4F2CF-F631-BB37-7A06-22CE1E9475F9}"/>
                </a:ext>
              </a:extLst>
            </p:cNvPr>
            <p:cNvSpPr txBox="1"/>
            <p:nvPr/>
          </p:nvSpPr>
          <p:spPr>
            <a:xfrm>
              <a:off x="3938948" y="5104880"/>
              <a:ext cx="7128358" cy="369332"/>
            </a:xfrm>
            <a:prstGeom prst="rect">
              <a:avLst/>
            </a:prstGeom>
            <a:noFill/>
          </p:spPr>
          <p:txBody>
            <a:bodyPr wrap="square" anchor="ctr">
              <a:spAutoFit/>
            </a:bodyPr>
            <a:lstStyle/>
            <a:p>
              <a:r>
                <a:rPr lang="en-BE" sz="1800" kern="1200" noProof="0" dirty="0">
                  <a:solidFill>
                    <a:prstClr val="white"/>
                  </a:solidFill>
                  <a:latin typeface="Arial" panose="020B0604020202020204"/>
                  <a:ea typeface="+mn-ea"/>
                  <a:cs typeface="+mn-cs"/>
                </a:rPr>
                <a:t>Harmonised residence concept to avoid conflicts/abuse</a:t>
              </a:r>
              <a:r>
                <a:rPr lang="nl-BE" sz="1800" kern="1200" noProof="0" dirty="0">
                  <a:solidFill>
                    <a:prstClr val="white"/>
                  </a:solidFill>
                  <a:latin typeface="Arial" panose="020B0604020202020204"/>
                  <a:ea typeface="+mn-ea"/>
                  <a:cs typeface="+mn-cs"/>
                </a:rPr>
                <a:t> </a:t>
              </a:r>
              <a:r>
                <a:rPr lang="en-US" dirty="0">
                  <a:solidFill>
                    <a:schemeClr val="bg1"/>
                  </a:solidFill>
                </a:rPr>
                <a:t> </a:t>
              </a:r>
            </a:p>
          </p:txBody>
        </p:sp>
        <p:sp>
          <p:nvSpPr>
            <p:cNvPr id="43" name="Tekstvak 42">
              <a:extLst>
                <a:ext uri="{FF2B5EF4-FFF2-40B4-BE49-F238E27FC236}">
                  <a16:creationId xmlns:a16="http://schemas.microsoft.com/office/drawing/2014/main" id="{7B4EC751-34FC-BE7B-F0FF-C202F36D3C20}"/>
                </a:ext>
              </a:extLst>
            </p:cNvPr>
            <p:cNvSpPr txBox="1"/>
            <p:nvPr/>
          </p:nvSpPr>
          <p:spPr>
            <a:xfrm>
              <a:off x="3388934" y="4957147"/>
              <a:ext cx="480512" cy="664797"/>
            </a:xfrm>
            <a:prstGeom prst="rect">
              <a:avLst/>
            </a:prstGeom>
          </p:spPr>
          <p:txBody>
            <a:bodyPr wrap="square" lIns="0" tIns="0" rIns="0" bIns="0" anchor="ctr">
              <a:spAutoFit/>
            </a:bodyPr>
            <a:lstStyle/>
            <a:p>
              <a:pPr>
                <a:lnSpc>
                  <a:spcPct val="90000"/>
                </a:lnSpc>
                <a:spcBef>
                  <a:spcPct val="0"/>
                </a:spcBef>
              </a:pPr>
              <a:r>
                <a:rPr lang="en-US" sz="4800" b="1" dirty="0">
                  <a:solidFill>
                    <a:schemeClr val="bg1">
                      <a:alpha val="26000"/>
                    </a:schemeClr>
                  </a:solidFill>
                  <a:latin typeface="+mj-lt"/>
                  <a:ea typeface="+mj-ea"/>
                  <a:cs typeface="+mj-cs"/>
                </a:rPr>
                <a:t>5</a:t>
              </a:r>
            </a:p>
          </p:txBody>
        </p:sp>
      </p:grpSp>
    </p:spTree>
    <p:custDataLst>
      <p:tags r:id="rId1"/>
    </p:custDataLst>
    <p:extLst>
      <p:ext uri="{BB962C8B-B14F-4D97-AF65-F5344CB8AC3E}">
        <p14:creationId xmlns:p14="http://schemas.microsoft.com/office/powerpoint/2010/main" val="243212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ue screen with a map of the world&#10;&#10;Description automatically generated">
            <a:extLst>
              <a:ext uri="{FF2B5EF4-FFF2-40B4-BE49-F238E27FC236}">
                <a16:creationId xmlns:a16="http://schemas.microsoft.com/office/drawing/2014/main" id="{561BD27F-5DD7-4CE8-6940-E177CF211B42}"/>
              </a:ext>
            </a:extLst>
          </p:cNvPr>
          <p:cNvPicPr>
            <a:picLocks noChangeAspect="1"/>
          </p:cNvPicPr>
          <p:nvPr/>
        </p:nvPicPr>
        <p:blipFill>
          <a:blip r:embed="rId3"/>
          <a:stretch>
            <a:fillRect/>
          </a:stretch>
        </p:blipFill>
        <p:spPr>
          <a:xfrm>
            <a:off x="271272" y="773049"/>
            <a:ext cx="11649456" cy="5827776"/>
          </a:xfrm>
          <a:prstGeom prst="rect">
            <a:avLst/>
          </a:prstGeom>
        </p:spPr>
      </p:pic>
      <p:sp>
        <p:nvSpPr>
          <p:cNvPr id="5" name="Rectangle 4">
            <a:extLst>
              <a:ext uri="{FF2B5EF4-FFF2-40B4-BE49-F238E27FC236}">
                <a16:creationId xmlns:a16="http://schemas.microsoft.com/office/drawing/2014/main" id="{C4895216-D58D-8F9A-07B3-1D1B4AF182D1}"/>
              </a:ext>
            </a:extLst>
          </p:cNvPr>
          <p:cNvSpPr/>
          <p:nvPr/>
        </p:nvSpPr>
        <p:spPr>
          <a:xfrm>
            <a:off x="271462" y="771525"/>
            <a:ext cx="11649075" cy="5829300"/>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NL" err="1">
              <a:solidFill>
                <a:schemeClr val="bg1"/>
              </a:solidFill>
            </a:endParaRPr>
          </a:p>
        </p:txBody>
      </p:sp>
      <p:sp>
        <p:nvSpPr>
          <p:cNvPr id="6" name="Text Placeholder 2">
            <a:extLst>
              <a:ext uri="{FF2B5EF4-FFF2-40B4-BE49-F238E27FC236}">
                <a16:creationId xmlns:a16="http://schemas.microsoft.com/office/drawing/2014/main" id="{0A07AB43-C587-60E8-F9F1-8FB76673A87E}"/>
              </a:ext>
            </a:extLst>
          </p:cNvPr>
          <p:cNvSpPr txBox="1">
            <a:spLocks/>
          </p:cNvSpPr>
          <p:nvPr/>
        </p:nvSpPr>
        <p:spPr>
          <a:xfrm>
            <a:off x="797638" y="4521325"/>
            <a:ext cx="8335475" cy="1166812"/>
          </a:xfrm>
          <a:prstGeom prst="rect">
            <a:avLst/>
          </a:prstGeom>
        </p:spPr>
        <p:txBody>
          <a:bodyPr/>
          <a:lstStyle>
            <a:lvl1pPr marL="0" indent="0" algn="l" defTabSz="914400" rtl="0" eaLnBrk="1" latinLnBrk="0" hangingPunct="1">
              <a:lnSpc>
                <a:spcPct val="100000"/>
              </a:lnSpc>
              <a:spcBef>
                <a:spcPts val="400"/>
              </a:spcBef>
              <a:buFont typeface="Arial" panose="020B0604020202020204" pitchFamily="34" charset="0"/>
              <a:buNone/>
              <a:defRPr sz="18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6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18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1800" b="1" kern="1200">
                <a:solidFill>
                  <a:schemeClr val="accent2"/>
                </a:solidFill>
                <a:latin typeface="+mn-lt"/>
                <a:ea typeface="+mn-ea"/>
                <a:cs typeface="+mn-cs"/>
              </a:defRPr>
            </a:lvl6pPr>
            <a:lvl7pPr marL="360363" indent="-360363" algn="l" defTabSz="914400" rtl="0" eaLnBrk="1" latinLnBrk="0" hangingPunct="1">
              <a:lnSpc>
                <a:spcPct val="100000"/>
              </a:lnSpc>
              <a:spcBef>
                <a:spcPts val="400"/>
              </a:spcBef>
              <a:buClr>
                <a:schemeClr val="accent2"/>
              </a:buClr>
              <a:buFont typeface="+mj-lt"/>
              <a:buAutoNum type="arabicPeriod"/>
              <a:defRPr sz="1800" kern="1200">
                <a:solidFill>
                  <a:schemeClr val="tx2"/>
                </a:solidFill>
                <a:latin typeface="+mn-lt"/>
                <a:ea typeface="+mn-ea"/>
                <a:cs typeface="+mn-cs"/>
              </a:defRPr>
            </a:lvl7pPr>
            <a:lvl8pPr marL="628650" indent="-268288" algn="l" defTabSz="914400" rtl="0" eaLnBrk="1" latinLnBrk="0" hangingPunct="1">
              <a:lnSpc>
                <a:spcPct val="100000"/>
              </a:lnSpc>
              <a:spcBef>
                <a:spcPts val="400"/>
              </a:spcBef>
              <a:buClr>
                <a:schemeClr val="accent2"/>
              </a:buClr>
              <a:buFont typeface="+mj-lt"/>
              <a:buAutoNum type="alphaLcPeriod"/>
              <a:defRPr sz="1600" kern="1200">
                <a:solidFill>
                  <a:schemeClr val="tx2"/>
                </a:solidFill>
                <a:latin typeface="+mn-lt"/>
                <a:ea typeface="+mn-ea"/>
                <a:cs typeface="+mn-cs"/>
              </a:defRPr>
            </a:lvl8pPr>
            <a:lvl9pPr marL="0" indent="0" algn="l" defTabSz="914400" rtl="0" eaLnBrk="1" latinLnBrk="0" hangingPunct="1">
              <a:lnSpc>
                <a:spcPct val="100000"/>
              </a:lnSpc>
              <a:spcBef>
                <a:spcPts val="400"/>
              </a:spcBef>
              <a:buFont typeface="Arial" panose="020B0604020202020204" pitchFamily="34" charset="0"/>
              <a:buNone/>
              <a:defRPr sz="1800" i="1" kern="1200">
                <a:solidFill>
                  <a:schemeClr val="tx2"/>
                </a:solidFill>
                <a:latin typeface="+mn-lt"/>
                <a:ea typeface="+mn-ea"/>
                <a:cs typeface="+mn-cs"/>
              </a:defRPr>
            </a:lvl9pPr>
          </a:lstStyle>
          <a:p>
            <a:pPr>
              <a:spcBef>
                <a:spcPts val="0"/>
              </a:spcBef>
              <a:tabLst>
                <a:tab pos="6816725" algn="r"/>
              </a:tabLst>
              <a:defRPr/>
            </a:pPr>
            <a:r>
              <a:rPr lang="en-BE" sz="1600" dirty="0">
                <a:solidFill>
                  <a:srgbClr val="FFFFFF"/>
                </a:solidFill>
                <a:latin typeface="Arial" panose="020B0604020202020204" pitchFamily="34" charset="0"/>
                <a:ea typeface="Calibri" panose="020F0502020204030204" pitchFamily="34" charset="0"/>
              </a:rPr>
              <a:t>Contact:</a:t>
            </a:r>
          </a:p>
          <a:p>
            <a:pPr>
              <a:spcBef>
                <a:spcPts val="0"/>
              </a:spcBef>
              <a:tabLst>
                <a:tab pos="6816725" algn="r"/>
              </a:tabLst>
              <a:defRPr/>
            </a:pPr>
            <a:r>
              <a:rPr lang="en-BE" sz="1600" dirty="0">
                <a:solidFill>
                  <a:srgbClr val="FFFFFF"/>
                </a:solidFill>
                <a:latin typeface="Arial" panose="020B0604020202020204" pitchFamily="34" charset="0"/>
                <a:ea typeface="Calibri" panose="020F0502020204030204" pitchFamily="34" charset="0"/>
              </a:rPr>
              <a:t>Prof. </a:t>
            </a:r>
            <a:r>
              <a:rPr lang="en-BE" sz="1600" dirty="0" err="1">
                <a:solidFill>
                  <a:srgbClr val="FFFFFF"/>
                </a:solidFill>
                <a:latin typeface="Arial" panose="020B0604020202020204" pitchFamily="34" charset="0"/>
                <a:ea typeface="Calibri" panose="020F0502020204030204" pitchFamily="34" charset="0"/>
              </a:rPr>
              <a:t>dr.</a:t>
            </a:r>
            <a:r>
              <a:rPr lang="en-BE" sz="1600" dirty="0">
                <a:solidFill>
                  <a:srgbClr val="FFFFFF"/>
                </a:solidFill>
                <a:latin typeface="Arial" panose="020B0604020202020204" pitchFamily="34" charset="0"/>
                <a:ea typeface="Calibri" panose="020F0502020204030204" pitchFamily="34" charset="0"/>
              </a:rPr>
              <a:t> Linda Brosens</a:t>
            </a:r>
          </a:p>
          <a:p>
            <a:pPr>
              <a:spcBef>
                <a:spcPts val="0"/>
              </a:spcBef>
              <a:tabLst>
                <a:tab pos="6816725" algn="r"/>
              </a:tabLst>
              <a:defRPr/>
            </a:pPr>
            <a:r>
              <a:rPr lang="en-BE" sz="1600" dirty="0" err="1">
                <a:solidFill>
                  <a:srgbClr val="FFFFFF"/>
                </a:solidFill>
                <a:latin typeface="Arial" panose="020B0604020202020204" pitchFamily="34" charset="0"/>
                <a:ea typeface="Calibri" panose="020F0502020204030204" pitchFamily="34" charset="0"/>
              </a:rPr>
              <a:t>Uantwerpen</a:t>
            </a:r>
            <a:r>
              <a:rPr lang="en-BE" sz="1600" dirty="0">
                <a:solidFill>
                  <a:srgbClr val="FFFFFF"/>
                </a:solidFill>
                <a:latin typeface="Arial" panose="020B0604020202020204" pitchFamily="34" charset="0"/>
                <a:ea typeface="Calibri" panose="020F0502020204030204" pitchFamily="34" charset="0"/>
              </a:rPr>
              <a:t> – </a:t>
            </a:r>
            <a:r>
              <a:rPr lang="en-BE" sz="1600" dirty="0" err="1">
                <a:solidFill>
                  <a:srgbClr val="FFFFFF"/>
                </a:solidFill>
                <a:latin typeface="Arial" panose="020B0604020202020204" pitchFamily="34" charset="0"/>
                <a:ea typeface="Calibri" panose="020F0502020204030204" pitchFamily="34" charset="0"/>
              </a:rPr>
              <a:t>Loyens&amp;Loeff</a:t>
            </a:r>
            <a:endParaRPr lang="en-BE" sz="1600" dirty="0">
              <a:solidFill>
                <a:srgbClr val="FFFFFF"/>
              </a:solidFill>
              <a:latin typeface="Arial" panose="020B0604020202020204" pitchFamily="34" charset="0"/>
              <a:ea typeface="Calibri" panose="020F0502020204030204" pitchFamily="34" charset="0"/>
            </a:endParaRPr>
          </a:p>
          <a:p>
            <a:pPr>
              <a:spcBef>
                <a:spcPts val="0"/>
              </a:spcBef>
              <a:tabLst>
                <a:tab pos="6816725" algn="r"/>
              </a:tabLst>
              <a:defRPr/>
            </a:pPr>
            <a:r>
              <a:rPr lang="en-BE" sz="1600" dirty="0" err="1">
                <a:solidFill>
                  <a:schemeClr val="bg1"/>
                </a:solidFill>
                <a:latin typeface="Arial" panose="020B060402020202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Linda.brosens.rw@uantwerpen</a:t>
            </a:r>
            <a:r>
              <a:rPr lang="en-BE" sz="1600" dirty="0">
                <a:solidFill>
                  <a:schemeClr val="bg1"/>
                </a:solidFill>
                <a:latin typeface="Arial" panose="020B0604020202020204" pitchFamily="34" charset="0"/>
                <a:ea typeface="Calibri" panose="020F0502020204030204" pitchFamily="34" charset="0"/>
              </a:rPr>
              <a:t> or Linda.brosens@loyensloeff.com </a:t>
            </a:r>
          </a:p>
        </p:txBody>
      </p:sp>
      <p:sp>
        <p:nvSpPr>
          <p:cNvPr id="7" name="Text Placeholder 2">
            <a:extLst>
              <a:ext uri="{FF2B5EF4-FFF2-40B4-BE49-F238E27FC236}">
                <a16:creationId xmlns:a16="http://schemas.microsoft.com/office/drawing/2014/main" id="{94B62C9D-409B-0408-2FD2-311461C94B68}"/>
              </a:ext>
            </a:extLst>
          </p:cNvPr>
          <p:cNvSpPr txBox="1">
            <a:spLocks/>
          </p:cNvSpPr>
          <p:nvPr/>
        </p:nvSpPr>
        <p:spPr>
          <a:xfrm>
            <a:off x="721439" y="2115241"/>
            <a:ext cx="8766439" cy="583406"/>
          </a:xfrm>
          <a:prstGeom prst="rect">
            <a:avLst/>
          </a:prstGeom>
        </p:spPr>
        <p:txBody>
          <a:bodyPr/>
          <a:lstStyle>
            <a:lvl1pPr marL="0" indent="0" algn="l" defTabSz="914400" rtl="0" eaLnBrk="1" latinLnBrk="0" hangingPunct="1">
              <a:lnSpc>
                <a:spcPct val="100000"/>
              </a:lnSpc>
              <a:spcBef>
                <a:spcPts val="400"/>
              </a:spcBef>
              <a:buFont typeface="Arial" panose="020B0604020202020204" pitchFamily="34" charset="0"/>
              <a:buNone/>
              <a:defRPr sz="1800" b="0" kern="1200">
                <a:solidFill>
                  <a:schemeClr val="tx2"/>
                </a:solidFill>
                <a:latin typeface="+mn-lt"/>
                <a:ea typeface="+mn-ea"/>
                <a:cs typeface="+mn-cs"/>
              </a:defRPr>
            </a:lvl1pPr>
            <a:lvl2pPr marL="222250" indent="-22225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tx2"/>
                </a:solidFill>
                <a:latin typeface="+mn-lt"/>
                <a:ea typeface="+mn-ea"/>
                <a:cs typeface="+mn-cs"/>
              </a:defRPr>
            </a:lvl2pPr>
            <a:lvl3pPr marL="558800" indent="-201613" algn="l" defTabSz="914400" rtl="0" eaLnBrk="1" latinLnBrk="0" hangingPunct="1">
              <a:lnSpc>
                <a:spcPct val="100000"/>
              </a:lnSpc>
              <a:spcBef>
                <a:spcPts val="4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935038" indent="-211138" algn="l" defTabSz="914400" rtl="0" eaLnBrk="1" latinLnBrk="0" hangingPunct="1">
              <a:lnSpc>
                <a:spcPct val="100000"/>
              </a:lnSpc>
              <a:spcBef>
                <a:spcPts val="400"/>
              </a:spcBef>
              <a:buClr>
                <a:schemeClr val="accent2"/>
              </a:buClr>
              <a:buFont typeface="Arial" panose="020B0604020202020204" pitchFamily="34" charset="0"/>
              <a:buChar char="•"/>
              <a:defRPr sz="1600" b="0" kern="1200">
                <a:solidFill>
                  <a:schemeClr val="tx2"/>
                </a:solidFill>
                <a:latin typeface="+mn-lt"/>
                <a:ea typeface="+mn-ea"/>
                <a:cs typeface="+mn-cs"/>
              </a:defRPr>
            </a:lvl4pPr>
            <a:lvl5pPr marL="0" indent="0" algn="l" defTabSz="914400" rtl="0" eaLnBrk="1" latinLnBrk="0" hangingPunct="1">
              <a:lnSpc>
                <a:spcPct val="100000"/>
              </a:lnSpc>
              <a:spcBef>
                <a:spcPts val="400"/>
              </a:spcBef>
              <a:buClr>
                <a:schemeClr val="accent2"/>
              </a:buClr>
              <a:buFont typeface="Arial" panose="020B0604020202020204" pitchFamily="34" charset="0"/>
              <a:buNone/>
              <a:defRPr sz="1800" b="1" kern="1200" baseline="0">
                <a:solidFill>
                  <a:schemeClr val="accent1"/>
                </a:solidFill>
                <a:latin typeface="+mn-lt"/>
                <a:ea typeface="+mn-ea"/>
                <a:cs typeface="+mn-cs"/>
              </a:defRPr>
            </a:lvl5pPr>
            <a:lvl6pPr marL="0" indent="0" algn="l" defTabSz="914400" rtl="0" eaLnBrk="1" latinLnBrk="0" hangingPunct="1">
              <a:lnSpc>
                <a:spcPct val="100000"/>
              </a:lnSpc>
              <a:spcBef>
                <a:spcPts val="400"/>
              </a:spcBef>
              <a:buFont typeface="Arial" panose="020B0604020202020204" pitchFamily="34" charset="0"/>
              <a:buNone/>
              <a:defRPr sz="1800" b="1" kern="1200">
                <a:solidFill>
                  <a:schemeClr val="accent2"/>
                </a:solidFill>
                <a:latin typeface="+mn-lt"/>
                <a:ea typeface="+mn-ea"/>
                <a:cs typeface="+mn-cs"/>
              </a:defRPr>
            </a:lvl6pPr>
            <a:lvl7pPr marL="360363" indent="-360363" algn="l" defTabSz="914400" rtl="0" eaLnBrk="1" latinLnBrk="0" hangingPunct="1">
              <a:lnSpc>
                <a:spcPct val="100000"/>
              </a:lnSpc>
              <a:spcBef>
                <a:spcPts val="400"/>
              </a:spcBef>
              <a:buClr>
                <a:schemeClr val="accent2"/>
              </a:buClr>
              <a:buFont typeface="+mj-lt"/>
              <a:buAutoNum type="arabicPeriod"/>
              <a:defRPr sz="1800" kern="1200">
                <a:solidFill>
                  <a:schemeClr val="tx2"/>
                </a:solidFill>
                <a:latin typeface="+mn-lt"/>
                <a:ea typeface="+mn-ea"/>
                <a:cs typeface="+mn-cs"/>
              </a:defRPr>
            </a:lvl7pPr>
            <a:lvl8pPr marL="628650" indent="-268288" algn="l" defTabSz="914400" rtl="0" eaLnBrk="1" latinLnBrk="0" hangingPunct="1">
              <a:lnSpc>
                <a:spcPct val="100000"/>
              </a:lnSpc>
              <a:spcBef>
                <a:spcPts val="400"/>
              </a:spcBef>
              <a:buClr>
                <a:schemeClr val="accent2"/>
              </a:buClr>
              <a:buFont typeface="+mj-lt"/>
              <a:buAutoNum type="alphaLcPeriod"/>
              <a:defRPr sz="1600" kern="1200">
                <a:solidFill>
                  <a:schemeClr val="tx2"/>
                </a:solidFill>
                <a:latin typeface="+mn-lt"/>
                <a:ea typeface="+mn-ea"/>
                <a:cs typeface="+mn-cs"/>
              </a:defRPr>
            </a:lvl8pPr>
            <a:lvl9pPr marL="0" indent="0" algn="l" defTabSz="914400" rtl="0" eaLnBrk="1" latinLnBrk="0" hangingPunct="1">
              <a:lnSpc>
                <a:spcPct val="100000"/>
              </a:lnSpc>
              <a:spcBef>
                <a:spcPts val="400"/>
              </a:spcBef>
              <a:buFont typeface="Arial" panose="020B0604020202020204" pitchFamily="34" charset="0"/>
              <a:buNone/>
              <a:defRPr sz="1800" i="1" kern="1200">
                <a:solidFill>
                  <a:schemeClr val="tx2"/>
                </a:solidFill>
                <a:latin typeface="+mn-lt"/>
                <a:ea typeface="+mn-ea"/>
                <a:cs typeface="+mn-cs"/>
              </a:defRPr>
            </a:lvl9pPr>
          </a:lstStyle>
          <a:p>
            <a:pPr>
              <a:lnSpc>
                <a:spcPts val="3400"/>
              </a:lnSpc>
              <a:spcBef>
                <a:spcPts val="0"/>
              </a:spcBef>
            </a:pPr>
            <a:r>
              <a:rPr lang="en-US" sz="3400" dirty="0">
                <a:solidFill>
                  <a:schemeClr val="bg1"/>
                </a:solidFill>
                <a:latin typeface="Arial Black" panose="020B0A04020102020204" pitchFamily="34" charset="0"/>
                <a:ea typeface="Calibri" panose="020F0502020204030204" pitchFamily="34" charset="0"/>
              </a:rPr>
              <a:t>THANKS FOR YOUR ATTENTION</a:t>
            </a:r>
            <a:endParaRPr lang="en-GB" sz="3400" dirty="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56EDCAE6-672A-1BBE-5516-1BBAAF6BE17A}"/>
              </a:ext>
            </a:extLst>
          </p:cNvPr>
          <p:cNvPicPr>
            <a:picLocks noChangeAspect="1"/>
          </p:cNvPicPr>
          <p:nvPr/>
        </p:nvPicPr>
        <p:blipFill>
          <a:blip r:embed="rId5"/>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3357432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8" descr="A blue screen with a map of the world&#10;&#10;Description automatically generated">
            <a:extLst>
              <a:ext uri="{FF2B5EF4-FFF2-40B4-BE49-F238E27FC236}">
                <a16:creationId xmlns:a16="http://schemas.microsoft.com/office/drawing/2014/main" id="{B93E6675-14EF-A44F-C864-80FDDEDDC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463" y="773113"/>
            <a:ext cx="11649075" cy="582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D7C2343-2B45-D39D-D9D2-48E859FA9252}"/>
              </a:ext>
            </a:extLst>
          </p:cNvPr>
          <p:cNvSpPr/>
          <p:nvPr/>
        </p:nvSpPr>
        <p:spPr>
          <a:xfrm>
            <a:off x="271463" y="771525"/>
            <a:ext cx="11649075" cy="5829300"/>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fontAlgn="auto" hangingPunct="1">
              <a:spcBef>
                <a:spcPts val="0"/>
              </a:spcBef>
              <a:spcAft>
                <a:spcPts val="0"/>
              </a:spcAft>
              <a:defRPr/>
            </a:pPr>
            <a:endParaRPr lang="en-NL" err="1">
              <a:solidFill>
                <a:schemeClr val="bg1"/>
              </a:solidFill>
            </a:endParaRPr>
          </a:p>
        </p:txBody>
      </p:sp>
      <p:sp>
        <p:nvSpPr>
          <p:cNvPr id="96260" name="Text Placeholder 2">
            <a:extLst>
              <a:ext uri="{FF2B5EF4-FFF2-40B4-BE49-F238E27FC236}">
                <a16:creationId xmlns:a16="http://schemas.microsoft.com/office/drawing/2014/main" id="{924C1038-50E3-F92B-9F5A-912DD4B06C37}"/>
              </a:ext>
            </a:extLst>
          </p:cNvPr>
          <p:cNvSpPr txBox="1">
            <a:spLocks noChangeArrowheads="1"/>
          </p:cNvSpPr>
          <p:nvPr/>
        </p:nvSpPr>
        <p:spPr bwMode="auto">
          <a:xfrm>
            <a:off x="819150" y="5434013"/>
            <a:ext cx="7324725" cy="11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tabLst>
                <a:tab pos="6816725" algn="r"/>
              </a:tabLst>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tabLst>
                <a:tab pos="6816725" algn="r"/>
              </a:tabLst>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9pPr>
          </a:lstStyle>
          <a:p>
            <a:pPr eaLnBrk="1" hangingPunct="1">
              <a:lnSpc>
                <a:spcPts val="3600"/>
              </a:lnSpc>
              <a:spcBef>
                <a:spcPct val="0"/>
              </a:spcBef>
            </a:pPr>
            <a:r>
              <a:rPr lang="en-US" altLang="en-US" sz="3200" dirty="0">
                <a:solidFill>
                  <a:srgbClr val="FFFFFF"/>
                </a:solidFill>
                <a:latin typeface="+mj-lt"/>
                <a:cs typeface="Calibri" panose="020F0502020204030204" pitchFamily="34" charset="0"/>
              </a:rPr>
              <a:t>Introduction</a:t>
            </a:r>
            <a:endParaRPr lang="en-US" altLang="en-US" sz="3200" dirty="0">
              <a:solidFill>
                <a:schemeClr val="bg1"/>
              </a:solidFill>
              <a:latin typeface="+mj-lt"/>
              <a:cs typeface="Calibri" panose="020F0502020204030204" pitchFamily="34" charset="0"/>
            </a:endParaRPr>
          </a:p>
        </p:txBody>
      </p:sp>
      <p:sp>
        <p:nvSpPr>
          <p:cNvPr id="96261" name="Text Placeholder 2">
            <a:extLst>
              <a:ext uri="{FF2B5EF4-FFF2-40B4-BE49-F238E27FC236}">
                <a16:creationId xmlns:a16="http://schemas.microsoft.com/office/drawing/2014/main" id="{D83D2935-D9A3-74BD-96C6-1325D58471D4}"/>
              </a:ext>
            </a:extLst>
          </p:cNvPr>
          <p:cNvSpPr txBox="1">
            <a:spLocks noChangeArrowheads="1"/>
          </p:cNvSpPr>
          <p:nvPr/>
        </p:nvSpPr>
        <p:spPr bwMode="auto">
          <a:xfrm>
            <a:off x="819150" y="4803775"/>
            <a:ext cx="990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9pPr>
          </a:lstStyle>
          <a:p>
            <a:pPr eaLnBrk="1" hangingPunct="1">
              <a:lnSpc>
                <a:spcPts val="3400"/>
              </a:lnSpc>
              <a:spcBef>
                <a:spcPct val="0"/>
              </a:spcBef>
            </a:pPr>
            <a:r>
              <a:rPr lang="en-US" altLang="en-US" sz="3400">
                <a:solidFill>
                  <a:schemeClr val="bg1"/>
                </a:solidFill>
                <a:latin typeface="Arial Black" panose="020B0A04020102020204" pitchFamily="34" charset="0"/>
                <a:cs typeface="Calibri" panose="020F0502020204030204" pitchFamily="34" charset="0"/>
              </a:rPr>
              <a:t>1.</a:t>
            </a:r>
            <a:endParaRPr lang="en-GB" altLang="en-US" sz="340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745CEAFE-502D-603C-5E07-E803220BEA82}"/>
              </a:ext>
            </a:extLst>
          </p:cNvPr>
          <p:cNvPicPr>
            <a:picLocks noChangeAspect="1"/>
          </p:cNvPicPr>
          <p:nvPr/>
        </p:nvPicPr>
        <p:blipFill>
          <a:blip r:embed="rId4"/>
          <a:stretch>
            <a:fillRect/>
          </a:stretch>
        </p:blipFill>
        <p:spPr>
          <a:xfrm>
            <a:off x="9585850" y="884387"/>
            <a:ext cx="2220686" cy="568176"/>
          </a:xfrm>
          <a:prstGeom prst="rect">
            <a:avLst/>
          </a:prstGeom>
        </p:spPr>
      </p:pic>
    </p:spTree>
    <p:extLst>
      <p:ext uri="{BB962C8B-B14F-4D97-AF65-F5344CB8AC3E}">
        <p14:creationId xmlns:p14="http://schemas.microsoft.com/office/powerpoint/2010/main" val="2704225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Diagram 15">
            <a:extLst>
              <a:ext uri="{FF2B5EF4-FFF2-40B4-BE49-F238E27FC236}">
                <a16:creationId xmlns:a16="http://schemas.microsoft.com/office/drawing/2014/main" id="{CC5B3D2E-000F-4CC3-8898-E6CB6C530AA1}"/>
              </a:ext>
            </a:extLst>
          </p:cNvPr>
          <p:cNvGraphicFramePr/>
          <p:nvPr>
            <p:extLst>
              <p:ext uri="{D42A27DB-BD31-4B8C-83A1-F6EECF244321}">
                <p14:modId xmlns:p14="http://schemas.microsoft.com/office/powerpoint/2010/main" val="2443878807"/>
              </p:ext>
            </p:extLst>
          </p:nvPr>
        </p:nvGraphicFramePr>
        <p:xfrm>
          <a:off x="2590600" y="87271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7">
            <a:extLst>
              <a:ext uri="{FF2B5EF4-FFF2-40B4-BE49-F238E27FC236}">
                <a16:creationId xmlns:a16="http://schemas.microsoft.com/office/drawing/2014/main" id="{292433C2-7111-1BE5-9AEB-380B3C3E355F}"/>
              </a:ext>
            </a:extLst>
          </p:cNvPr>
          <p:cNvSpPr>
            <a:spLocks noGrp="1"/>
          </p:cNvSpPr>
          <p:nvPr>
            <p:ph type="title"/>
          </p:nvPr>
        </p:nvSpPr>
        <p:spPr>
          <a:xfrm>
            <a:off x="265113" y="298450"/>
            <a:ext cx="9647237" cy="863313"/>
          </a:xfrm>
        </p:spPr>
        <p:txBody>
          <a:bodyPr/>
          <a:lstStyle/>
          <a:p>
            <a:r>
              <a:rPr lang="pt-BR" dirty="0"/>
              <a:t>Introduction</a:t>
            </a:r>
            <a:br>
              <a:rPr lang="pt-BR" dirty="0"/>
            </a:br>
            <a:r>
              <a:rPr lang="pt-BR" dirty="0"/>
              <a:t> </a:t>
            </a:r>
            <a:br>
              <a:rPr lang="pt-BR" dirty="0"/>
            </a:br>
            <a:endParaRPr lang="pt-BR" dirty="0"/>
          </a:p>
        </p:txBody>
      </p:sp>
      <p:sp>
        <p:nvSpPr>
          <p:cNvPr id="2" name="TextBox 1">
            <a:extLst>
              <a:ext uri="{FF2B5EF4-FFF2-40B4-BE49-F238E27FC236}">
                <a16:creationId xmlns:a16="http://schemas.microsoft.com/office/drawing/2014/main" id="{434D332A-FA17-FD1F-6C84-058206F81FFC}"/>
              </a:ext>
            </a:extLst>
          </p:cNvPr>
          <p:cNvSpPr txBox="1"/>
          <p:nvPr/>
        </p:nvSpPr>
        <p:spPr>
          <a:xfrm rot="19156198">
            <a:off x="265113" y="2936557"/>
            <a:ext cx="2728458" cy="984885"/>
          </a:xfrm>
          <a:prstGeom prst="rect">
            <a:avLst/>
          </a:prstGeom>
          <a:noFill/>
          <a:ln>
            <a:noFill/>
          </a:ln>
        </p:spPr>
        <p:txBody>
          <a:bodyPr wrap="square" lIns="0" tIns="0" rIns="0" bIns="0" rtlCol="0">
            <a:spAutoFit/>
          </a:bodyPr>
          <a:lstStyle/>
          <a:p>
            <a:r>
              <a:rPr lang="nl-BE" sz="3200" dirty="0">
                <a:solidFill>
                  <a:schemeClr val="bg2"/>
                </a:solidFill>
              </a:rPr>
              <a:t>RELEVANCE IN BELGIUM? </a:t>
            </a:r>
            <a:endParaRPr lang="en-BE" sz="3200" dirty="0" err="1">
              <a:solidFill>
                <a:schemeClr val="bg2"/>
              </a:solidFill>
            </a:endParaRPr>
          </a:p>
        </p:txBody>
      </p:sp>
    </p:spTree>
    <p:extLst>
      <p:ext uri="{BB962C8B-B14F-4D97-AF65-F5344CB8AC3E}">
        <p14:creationId xmlns:p14="http://schemas.microsoft.com/office/powerpoint/2010/main" val="21491163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8" descr="A blue screen with a map of the world&#10;&#10;Description automatically generated">
            <a:extLst>
              <a:ext uri="{FF2B5EF4-FFF2-40B4-BE49-F238E27FC236}">
                <a16:creationId xmlns:a16="http://schemas.microsoft.com/office/drawing/2014/main" id="{B93E6675-14EF-A44F-C864-80FDDEDDC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463" y="773113"/>
            <a:ext cx="11649075" cy="582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D7C2343-2B45-D39D-D9D2-48E859FA9252}"/>
              </a:ext>
            </a:extLst>
          </p:cNvPr>
          <p:cNvSpPr/>
          <p:nvPr/>
        </p:nvSpPr>
        <p:spPr>
          <a:xfrm>
            <a:off x="271462" y="773113"/>
            <a:ext cx="11649075" cy="5829300"/>
          </a:xfrm>
          <a:prstGeom prst="rect">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fontAlgn="auto" hangingPunct="1">
              <a:spcBef>
                <a:spcPts val="0"/>
              </a:spcBef>
              <a:spcAft>
                <a:spcPts val="0"/>
              </a:spcAft>
              <a:defRPr/>
            </a:pPr>
            <a:endParaRPr lang="en-NL" err="1">
              <a:solidFill>
                <a:schemeClr val="bg1"/>
              </a:solidFill>
            </a:endParaRPr>
          </a:p>
        </p:txBody>
      </p:sp>
      <p:sp>
        <p:nvSpPr>
          <p:cNvPr id="96260" name="Text Placeholder 2">
            <a:extLst>
              <a:ext uri="{FF2B5EF4-FFF2-40B4-BE49-F238E27FC236}">
                <a16:creationId xmlns:a16="http://schemas.microsoft.com/office/drawing/2014/main" id="{924C1038-50E3-F92B-9F5A-912DD4B06C37}"/>
              </a:ext>
            </a:extLst>
          </p:cNvPr>
          <p:cNvSpPr txBox="1">
            <a:spLocks noChangeArrowheads="1"/>
          </p:cNvSpPr>
          <p:nvPr/>
        </p:nvSpPr>
        <p:spPr bwMode="auto">
          <a:xfrm>
            <a:off x="819150" y="5434013"/>
            <a:ext cx="7324725" cy="11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tabLst>
                <a:tab pos="6816725" algn="r"/>
              </a:tabLst>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tabLst>
                <a:tab pos="6816725" algn="r"/>
              </a:tabLst>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tabLst>
                <a:tab pos="6816725" algn="r"/>
              </a:tabLst>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tabLst>
                <a:tab pos="6816725" algn="r"/>
              </a:tabLst>
              <a:defRPr b="1">
                <a:solidFill>
                  <a:schemeClr val="accent1"/>
                </a:solidFill>
                <a:latin typeface="Arial" panose="020B0604020202020204" pitchFamily="34" charset="0"/>
              </a:defRPr>
            </a:lvl9pPr>
          </a:lstStyle>
          <a:p>
            <a:pPr>
              <a:lnSpc>
                <a:spcPts val="3600"/>
              </a:lnSpc>
              <a:spcBef>
                <a:spcPct val="0"/>
              </a:spcBef>
            </a:pPr>
            <a:r>
              <a:rPr lang="en-GB" sz="3200" dirty="0">
                <a:solidFill>
                  <a:srgbClr val="FFFFFF"/>
                </a:solidFill>
                <a:latin typeface="+mj-lt"/>
                <a:cs typeface="Calibri" panose="020F0502020204030204" pitchFamily="34" charset="0"/>
              </a:rPr>
              <a:t>The concept of residency for purposes of Belgian income tax law</a:t>
            </a:r>
          </a:p>
          <a:p>
            <a:pPr eaLnBrk="1" hangingPunct="1">
              <a:lnSpc>
                <a:spcPts val="3600"/>
              </a:lnSpc>
              <a:spcBef>
                <a:spcPct val="0"/>
              </a:spcBef>
            </a:pPr>
            <a:endParaRPr lang="en-US" altLang="en-US" sz="3200" dirty="0">
              <a:solidFill>
                <a:schemeClr val="bg1"/>
              </a:solidFill>
              <a:latin typeface="+mj-lt"/>
              <a:cs typeface="Calibri" panose="020F0502020204030204" pitchFamily="34" charset="0"/>
            </a:endParaRPr>
          </a:p>
        </p:txBody>
      </p:sp>
      <p:sp>
        <p:nvSpPr>
          <p:cNvPr id="96261" name="Text Placeholder 2">
            <a:extLst>
              <a:ext uri="{FF2B5EF4-FFF2-40B4-BE49-F238E27FC236}">
                <a16:creationId xmlns:a16="http://schemas.microsoft.com/office/drawing/2014/main" id="{D83D2935-D9A3-74BD-96C6-1325D58471D4}"/>
              </a:ext>
            </a:extLst>
          </p:cNvPr>
          <p:cNvSpPr txBox="1">
            <a:spLocks noChangeArrowheads="1"/>
          </p:cNvSpPr>
          <p:nvPr/>
        </p:nvSpPr>
        <p:spPr bwMode="auto">
          <a:xfrm>
            <a:off x="819150" y="4803775"/>
            <a:ext cx="990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400"/>
              </a:spcBef>
              <a:buFont typeface="Arial" panose="020B0604020202020204" pitchFamily="34" charset="0"/>
              <a:defRPr>
                <a:solidFill>
                  <a:schemeClr val="tx2"/>
                </a:solidFill>
                <a:latin typeface="Arial" panose="020B0604020202020204" pitchFamily="34" charset="0"/>
              </a:defRPr>
            </a:lvl1pPr>
            <a:lvl2pPr marL="222250" indent="-222250">
              <a:spcBef>
                <a:spcPts val="400"/>
              </a:spcBef>
              <a:buClr>
                <a:schemeClr val="accent2"/>
              </a:buClr>
              <a:buFont typeface="Arial" panose="020B0604020202020204" pitchFamily="34" charset="0"/>
              <a:buChar char="•"/>
              <a:defRPr>
                <a:solidFill>
                  <a:schemeClr val="tx2"/>
                </a:solidFill>
                <a:latin typeface="Arial" panose="020B0604020202020204" pitchFamily="34" charset="0"/>
              </a:defRPr>
            </a:lvl2pPr>
            <a:lvl3pPr marL="558800" indent="-201613">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3pPr>
            <a:lvl4pPr marL="935038" indent="-211138">
              <a:spcBef>
                <a:spcPts val="400"/>
              </a:spcBef>
              <a:buClr>
                <a:schemeClr val="accent2"/>
              </a:buClr>
              <a:buFont typeface="Arial" panose="020B0604020202020204" pitchFamily="34" charset="0"/>
              <a:buChar char="•"/>
              <a:defRPr sz="1600">
                <a:solidFill>
                  <a:schemeClr val="tx2"/>
                </a:solidFill>
                <a:latin typeface="Arial" panose="020B0604020202020204" pitchFamily="34" charset="0"/>
              </a:defRPr>
            </a:lvl4pPr>
            <a:lvl5pPr marL="2057400" indent="-228600">
              <a:spcBef>
                <a:spcPts val="400"/>
              </a:spcBef>
              <a:buClr>
                <a:schemeClr val="accent2"/>
              </a:buClr>
              <a:buFont typeface="Arial" panose="020B0604020202020204" pitchFamily="34" charset="0"/>
              <a:defRPr b="1">
                <a:solidFill>
                  <a:schemeClr val="accent1"/>
                </a:solidFill>
                <a:latin typeface="Arial" panose="020B0604020202020204" pitchFamily="34" charset="0"/>
              </a:defRPr>
            </a:lvl5pPr>
            <a:lvl6pPr marL="25146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6pPr>
            <a:lvl7pPr marL="29718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7pPr>
            <a:lvl8pPr marL="34290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8pPr>
            <a:lvl9pPr marL="3886200" indent="-228600" eaLnBrk="0" fontAlgn="base" hangingPunct="0">
              <a:spcBef>
                <a:spcPts val="400"/>
              </a:spcBef>
              <a:spcAft>
                <a:spcPct val="0"/>
              </a:spcAft>
              <a:buClr>
                <a:schemeClr val="accent2"/>
              </a:buClr>
              <a:buFont typeface="Arial" panose="020B0604020202020204" pitchFamily="34" charset="0"/>
              <a:defRPr b="1">
                <a:solidFill>
                  <a:schemeClr val="accent1"/>
                </a:solidFill>
                <a:latin typeface="Arial" panose="020B0604020202020204" pitchFamily="34" charset="0"/>
              </a:defRPr>
            </a:lvl9pPr>
          </a:lstStyle>
          <a:p>
            <a:pPr eaLnBrk="1" hangingPunct="1">
              <a:lnSpc>
                <a:spcPts val="3400"/>
              </a:lnSpc>
              <a:spcBef>
                <a:spcPct val="0"/>
              </a:spcBef>
            </a:pPr>
            <a:r>
              <a:rPr lang="en-US" altLang="en-US" sz="3400">
                <a:solidFill>
                  <a:schemeClr val="bg1"/>
                </a:solidFill>
                <a:latin typeface="Arial Black" panose="020B0A04020102020204" pitchFamily="34" charset="0"/>
                <a:cs typeface="Calibri" panose="020F0502020204030204" pitchFamily="34" charset="0"/>
              </a:rPr>
              <a:t>2.</a:t>
            </a:r>
            <a:endParaRPr lang="en-GB" altLang="en-US" sz="3400">
              <a:solidFill>
                <a:schemeClr val="bg1"/>
              </a:solidFill>
              <a:latin typeface="Arial Black" panose="020B0A04020102020204" pitchFamily="34" charset="0"/>
            </a:endParaRPr>
          </a:p>
        </p:txBody>
      </p:sp>
      <p:pic>
        <p:nvPicPr>
          <p:cNvPr id="2" name="Picture 1">
            <a:extLst>
              <a:ext uri="{FF2B5EF4-FFF2-40B4-BE49-F238E27FC236}">
                <a16:creationId xmlns:a16="http://schemas.microsoft.com/office/drawing/2014/main" id="{13E4F3B0-DBF8-2661-F783-EE60317D4884}"/>
              </a:ext>
            </a:extLst>
          </p:cNvPr>
          <p:cNvPicPr>
            <a:picLocks noChangeAspect="1"/>
          </p:cNvPicPr>
          <p:nvPr/>
        </p:nvPicPr>
        <p:blipFill>
          <a:blip r:embed="rId4"/>
          <a:stretch>
            <a:fillRect/>
          </a:stretch>
        </p:blipFill>
        <p:spPr>
          <a:xfrm>
            <a:off x="9585850" y="884387"/>
            <a:ext cx="2220686" cy="56817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ncome Inclusion Rule (IIR)">
            <a:extLst>
              <a:ext uri="{FF2B5EF4-FFF2-40B4-BE49-F238E27FC236}">
                <a16:creationId xmlns:a16="http://schemas.microsoft.com/office/drawing/2014/main" id="{43EE8914-EB0C-438E-91C0-FA8496AD5229}"/>
              </a:ext>
            </a:extLst>
          </p:cNvPr>
          <p:cNvSpPr txBox="1"/>
          <p:nvPr/>
        </p:nvSpPr>
        <p:spPr>
          <a:xfrm>
            <a:off x="445205" y="1500201"/>
            <a:ext cx="2557268" cy="71507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72000" tIns="72000" rIns="72000" bIns="72000" numCol="1" anchor="ctr">
            <a:spAutoFit/>
          </a:bodyPr>
          <a:lstStyle>
            <a:lvl1pPr algn="ctr">
              <a:defRPr sz="1200" b="1">
                <a:solidFill>
                  <a:srgbClr val="FFFFFF"/>
                </a:solidFill>
                <a:latin typeface="Arial"/>
                <a:ea typeface="Arial"/>
                <a:cs typeface="Arial"/>
                <a:sym typeface="Arial"/>
              </a:defRPr>
            </a:lvl1pPr>
          </a:lstStyle>
          <a:p>
            <a:r>
              <a:rPr lang="en-US" sz="1400">
                <a:latin typeface="Arial" panose="020B0604020202020204" pitchFamily="34" charset="0"/>
                <a:cs typeface="Arial" panose="020B0604020202020204" pitchFamily="34" charset="0"/>
              </a:rPr>
              <a:t>What? </a:t>
            </a:r>
            <a:endParaRPr sz="1400">
              <a:latin typeface="Arial" panose="020B0604020202020204" pitchFamily="34" charset="0"/>
              <a:cs typeface="Arial" panose="020B0604020202020204" pitchFamily="34" charset="0"/>
            </a:endParaRPr>
          </a:p>
        </p:txBody>
      </p:sp>
      <p:sp>
        <p:nvSpPr>
          <p:cNvPr id="2670" name="Title 1"/>
          <p:cNvSpPr txBox="1">
            <a:spLocks noGrp="1"/>
          </p:cNvSpPr>
          <p:nvPr>
            <p:ph type="title"/>
          </p:nvPr>
        </p:nvSpPr>
        <p:spPr>
          <a:xfrm>
            <a:off x="265732" y="299033"/>
            <a:ext cx="9646691" cy="313932"/>
          </a:xfrm>
          <a:prstGeom prst="rect">
            <a:avLst/>
          </a:prstGeom>
        </p:spPr>
        <p:txBody>
          <a:bodyPr/>
          <a:lstStyle>
            <a:lvl1pPr defTabSz="813816"/>
          </a:lstStyle>
          <a:p>
            <a:r>
              <a:rPr lang="en-US" sz="2400" dirty="0"/>
              <a:t>Concept of residency </a:t>
            </a:r>
            <a:endParaRPr sz="2400" dirty="0"/>
          </a:p>
        </p:txBody>
      </p:sp>
      <p:sp>
        <p:nvSpPr>
          <p:cNvPr id="2708" name="Tijdelijke aanduiding voor dianummer 5"/>
          <p:cNvSpPr txBox="1">
            <a:spLocks noGrp="1"/>
          </p:cNvSpPr>
          <p:nvPr>
            <p:ph type="sldNum" sz="quarter" idx="4294967295"/>
          </p:nvPr>
        </p:nvSpPr>
        <p:spPr>
          <a:xfrm>
            <a:off x="12036425" y="6365875"/>
            <a:ext cx="155575" cy="13811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90000"/>
              </a:lnSpc>
              <a:spcBef>
                <a:spcPts val="0"/>
              </a:spcBef>
              <a:spcAft>
                <a:spcPts val="0"/>
              </a:spcAft>
              <a:buClrTx/>
              <a:buSzTx/>
              <a:buFontTx/>
              <a:buNone/>
              <a:tabLst/>
              <a:defRPr kumimoji="0" sz="1000" b="0" i="0" u="none" strike="noStrike" cap="none" spc="0" normalizeH="0" baseline="0">
                <a:ln>
                  <a:noFill/>
                </a:ln>
                <a:solidFill>
                  <a:srgbClr val="A1A1A1"/>
                </a:solidFill>
                <a:effectLst/>
                <a:uFillTx/>
                <a:latin typeface="Arial"/>
                <a:ea typeface="Arial"/>
                <a:cs typeface="Arial"/>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fld id="{86CB4B4D-7CA3-9044-876B-883B54F8677D}" type="slidenum">
              <a:rPr lang="en-US" smtClean="0"/>
              <a:pPr/>
              <a:t>6</a:t>
            </a:fld>
            <a:endParaRPr/>
          </a:p>
        </p:txBody>
      </p:sp>
      <p:grpSp>
        <p:nvGrpSpPr>
          <p:cNvPr id="2" name="Group 1">
            <a:extLst>
              <a:ext uri="{FF2B5EF4-FFF2-40B4-BE49-F238E27FC236}">
                <a16:creationId xmlns:a16="http://schemas.microsoft.com/office/drawing/2014/main" id="{CE931115-D494-6AC9-340B-2B23F9488639}"/>
              </a:ext>
            </a:extLst>
          </p:cNvPr>
          <p:cNvGrpSpPr/>
          <p:nvPr/>
        </p:nvGrpSpPr>
        <p:grpSpPr>
          <a:xfrm>
            <a:off x="155575" y="1000608"/>
            <a:ext cx="4908368" cy="5205127"/>
            <a:chOff x="7195504" y="1514453"/>
            <a:chExt cx="5189084" cy="2308405"/>
          </a:xfrm>
        </p:grpSpPr>
        <p:sp>
          <p:nvSpPr>
            <p:cNvPr id="3" name="Rectangle 2">
              <a:extLst>
                <a:ext uri="{FF2B5EF4-FFF2-40B4-BE49-F238E27FC236}">
                  <a16:creationId xmlns:a16="http://schemas.microsoft.com/office/drawing/2014/main" id="{B0EA7726-9F1E-CD85-F966-E5CCE86B16EE}"/>
                </a:ext>
              </a:extLst>
            </p:cNvPr>
            <p:cNvSpPr/>
            <p:nvPr/>
          </p:nvSpPr>
          <p:spPr>
            <a:xfrm>
              <a:off x="7366953" y="1555355"/>
              <a:ext cx="5017635" cy="2267503"/>
            </a:xfrm>
            <a:prstGeom prst="rect">
              <a:avLst/>
            </a:prstGeom>
            <a:solidFill>
              <a:schemeClr val="accent3">
                <a:lumMod val="20000"/>
                <a:lumOff val="8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85750" indent="-285750" algn="just">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r>
                <a:rPr lang="en-US" dirty="0">
                  <a:solidFill>
                    <a:srgbClr val="4D4D4F"/>
                  </a:solidFill>
                  <a:latin typeface="Arial" panose="020B0604020202020204" pitchFamily="34" charset="0"/>
                  <a:ea typeface="Calibri" panose="020F0502020204030204" pitchFamily="34" charset="0"/>
                </a:rPr>
                <a:t>Seat of management or administration</a:t>
              </a:r>
            </a:p>
            <a:p>
              <a:pPr algn="just">
                <a:buClr>
                  <a:schemeClr val="accent2"/>
                </a:buClr>
              </a:pPr>
              <a:endParaRPr lang="en-US"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r>
                <a:rPr lang="en-US" sz="1800" b="1" dirty="0">
                  <a:solidFill>
                    <a:srgbClr val="4D4D4F"/>
                  </a:solidFill>
                  <a:latin typeface="Arial" panose="020B0604020202020204" pitchFamily="34" charset="0"/>
                  <a:ea typeface="Calibri" panose="020F0502020204030204" pitchFamily="34" charset="0"/>
                </a:rPr>
                <a:t>Principal establishment</a:t>
              </a:r>
            </a:p>
            <a:p>
              <a:pPr algn="just">
                <a:buClr>
                  <a:schemeClr val="accent2"/>
                </a:buClr>
              </a:pPr>
              <a:endParaRPr lang="en-US" sz="1800"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r>
                <a:rPr lang="en-US" dirty="0">
                  <a:solidFill>
                    <a:srgbClr val="4D4D4F"/>
                  </a:solidFill>
                  <a:latin typeface="Arial" panose="020B0604020202020204" pitchFamily="34" charset="0"/>
                  <a:ea typeface="Calibri" panose="020F0502020204030204" pitchFamily="34" charset="0"/>
                </a:rPr>
                <a:t>All synonyms </a:t>
              </a:r>
              <a:r>
                <a:rPr lang="en-US" dirty="0">
                  <a:solidFill>
                    <a:srgbClr val="4D4D4F"/>
                  </a:solidFill>
                  <a:latin typeface="Arial" panose="020B0604020202020204" pitchFamily="34" charset="0"/>
                  <a:ea typeface="Calibri" panose="020F0502020204030204" pitchFamily="34" charset="0"/>
                  <a:sym typeface="Wingdings" panose="05000000000000000000" pitchFamily="2" charset="2"/>
                </a:rPr>
                <a:t> one factual connecting factor</a:t>
              </a:r>
              <a:r>
                <a:rPr lang="en-US" dirty="0">
                  <a:solidFill>
                    <a:srgbClr val="4D4D4F"/>
                  </a:solidFill>
                  <a:latin typeface="Arial" panose="020B0604020202020204" pitchFamily="34" charset="0"/>
                  <a:ea typeface="Calibri" panose="020F0502020204030204" pitchFamily="34" charset="0"/>
                </a:rPr>
                <a:t> </a:t>
              </a:r>
              <a:endParaRPr lang="en-US" sz="1800"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endParaRPr lang="en-US" sz="1800"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endParaRPr lang="en-US" sz="1800" dirty="0">
                <a:solidFill>
                  <a:srgbClr val="4D4D4F"/>
                </a:solidFill>
                <a:latin typeface="Arial" panose="020B0604020202020204" pitchFamily="34" charset="0"/>
                <a:ea typeface="Calibri" panose="020F0502020204030204" pitchFamily="34" charset="0"/>
              </a:endParaRPr>
            </a:p>
            <a:p>
              <a:pPr marL="285750" indent="-285750" algn="just">
                <a:buClr>
                  <a:schemeClr val="accent2"/>
                </a:buClr>
                <a:buFont typeface="Arial" panose="020B0604020202020204" pitchFamily="34" charset="0"/>
                <a:buChar char="•"/>
              </a:pPr>
              <a:endParaRPr lang="en-US" sz="1800" dirty="0">
                <a:solidFill>
                  <a:srgbClr val="4D4D4F"/>
                </a:solidFill>
                <a:latin typeface="Arial" panose="020B0604020202020204" pitchFamily="34" charset="0"/>
                <a:ea typeface="Calibri" panose="020F0502020204030204" pitchFamily="34" charset="0"/>
              </a:endParaRPr>
            </a:p>
            <a:p>
              <a:pPr algn="ctr"/>
              <a:endParaRPr lang="nl-BE" dirty="0">
                <a:solidFill>
                  <a:schemeClr val="bg1"/>
                </a:solidFill>
              </a:endParaRPr>
            </a:p>
            <a:p>
              <a:pPr algn="ctr"/>
              <a:endParaRPr lang="nl-BE" dirty="0">
                <a:solidFill>
                  <a:schemeClr val="bg1"/>
                </a:solidFill>
              </a:endParaRPr>
            </a:p>
            <a:p>
              <a:pPr algn="ctr"/>
              <a:endParaRPr lang="nl-BE" dirty="0">
                <a:solidFill>
                  <a:schemeClr val="bg1"/>
                </a:solidFill>
              </a:endParaRPr>
            </a:p>
            <a:p>
              <a:pPr algn="ctr"/>
              <a:endParaRPr lang="nl-BE" dirty="0">
                <a:solidFill>
                  <a:schemeClr val="bg1"/>
                </a:solidFill>
              </a:endParaRPr>
            </a:p>
            <a:p>
              <a:pPr algn="ctr"/>
              <a:endParaRPr lang="en-NL" dirty="0">
                <a:solidFill>
                  <a:schemeClr val="bg1"/>
                </a:solidFill>
              </a:endParaRPr>
            </a:p>
          </p:txBody>
        </p:sp>
        <p:sp>
          <p:nvSpPr>
            <p:cNvPr id="4" name="Rectangle 3">
              <a:extLst>
                <a:ext uri="{FF2B5EF4-FFF2-40B4-BE49-F238E27FC236}">
                  <a16:creationId xmlns:a16="http://schemas.microsoft.com/office/drawing/2014/main" id="{12EF5BE0-6C97-C28C-48C1-873858D8557A}"/>
                </a:ext>
              </a:extLst>
            </p:cNvPr>
            <p:cNvSpPr/>
            <p:nvPr/>
          </p:nvSpPr>
          <p:spPr>
            <a:xfrm>
              <a:off x="7366953" y="1514453"/>
              <a:ext cx="5017635" cy="317128"/>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72000" bIns="36000" rtlCol="0" anchor="ctr" anchorCtr="0">
              <a:noAutofit/>
            </a:bodyPr>
            <a:lstStyle/>
            <a:p>
              <a:pPr algn="ctr">
                <a:lnSpc>
                  <a:spcPct val="95000"/>
                </a:lnSpc>
              </a:pPr>
              <a:r>
                <a:rPr lang="en-US" sz="2400" b="1" dirty="0">
                  <a:solidFill>
                    <a:schemeClr val="bg1"/>
                  </a:solidFill>
                </a:rPr>
                <a:t>Factual  </a:t>
              </a:r>
            </a:p>
          </p:txBody>
        </p:sp>
        <p:sp>
          <p:nvSpPr>
            <p:cNvPr id="5" name="Prostokąt zaokrąglony">
              <a:extLst>
                <a:ext uri="{FF2B5EF4-FFF2-40B4-BE49-F238E27FC236}">
                  <a16:creationId xmlns:a16="http://schemas.microsoft.com/office/drawing/2014/main" id="{3CC6FCAE-49F2-7A9B-C804-042A2705A358}"/>
                </a:ext>
              </a:extLst>
            </p:cNvPr>
            <p:cNvSpPr/>
            <p:nvPr/>
          </p:nvSpPr>
          <p:spPr>
            <a:xfrm>
              <a:off x="7195504" y="1998494"/>
              <a:ext cx="4703630" cy="1824364"/>
            </a:xfrm>
            <a:prstGeom prst="roundRect">
              <a:avLst>
                <a:gd name="adj" fmla="val 16667"/>
              </a:avLst>
            </a:prstGeom>
            <a:noFill/>
            <a:ln w="9525" cap="flat">
              <a:noFill/>
              <a:prstDash val="solid"/>
              <a:round/>
            </a:ln>
            <a:effectLst/>
          </p:spPr>
          <p:txBody>
            <a:bodyPr wrap="square" lIns="72000" tIns="72000" rIns="72000" bIns="72000" numCol="1" anchor="t">
              <a:noAutofit/>
            </a:bodyPr>
            <a:lstStyle/>
            <a:p>
              <a:pPr marL="285750" indent="-285750" algn="just">
                <a:buClr>
                  <a:schemeClr val="accent2"/>
                </a:buClr>
                <a:buFont typeface="Arial" panose="020B0604020202020204" pitchFamily="34" charset="0"/>
                <a:buChar char="•"/>
              </a:pPr>
              <a:endParaRPr lang="en-US" sz="1600" dirty="0">
                <a:solidFill>
                  <a:srgbClr val="4D4D4F"/>
                </a:solidFill>
                <a:latin typeface="Arial" panose="020B0604020202020204" pitchFamily="34" charset="0"/>
                <a:ea typeface="Calibri" panose="020F0502020204030204" pitchFamily="34" charset="0"/>
              </a:endParaRPr>
            </a:p>
          </p:txBody>
        </p:sp>
      </p:grpSp>
      <p:grpSp>
        <p:nvGrpSpPr>
          <p:cNvPr id="10" name="Group 9">
            <a:extLst>
              <a:ext uri="{FF2B5EF4-FFF2-40B4-BE49-F238E27FC236}">
                <a16:creationId xmlns:a16="http://schemas.microsoft.com/office/drawing/2014/main" id="{DC739812-128A-1501-EB05-668E41802908}"/>
              </a:ext>
            </a:extLst>
          </p:cNvPr>
          <p:cNvGrpSpPr/>
          <p:nvPr/>
        </p:nvGrpSpPr>
        <p:grpSpPr>
          <a:xfrm>
            <a:off x="5646488" y="1000608"/>
            <a:ext cx="4746194" cy="5205126"/>
            <a:chOff x="7366953" y="1514453"/>
            <a:chExt cx="5017635" cy="2308405"/>
          </a:xfrm>
        </p:grpSpPr>
        <p:sp>
          <p:nvSpPr>
            <p:cNvPr id="11" name="Rectangle 10">
              <a:extLst>
                <a:ext uri="{FF2B5EF4-FFF2-40B4-BE49-F238E27FC236}">
                  <a16:creationId xmlns:a16="http://schemas.microsoft.com/office/drawing/2014/main" id="{93214236-11CB-A011-AEFC-E967026E8F44}"/>
                </a:ext>
              </a:extLst>
            </p:cNvPr>
            <p:cNvSpPr/>
            <p:nvPr/>
          </p:nvSpPr>
          <p:spPr>
            <a:xfrm>
              <a:off x="7366953" y="1831581"/>
              <a:ext cx="5017635" cy="19912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r>
                <a:rPr lang="en-US" dirty="0">
                  <a:solidFill>
                    <a:srgbClr val="4D4D4F"/>
                  </a:solidFill>
                  <a:latin typeface="Arial" panose="020B0604020202020204" pitchFamily="34" charset="0"/>
                  <a:ea typeface="Calibri" panose="020F0502020204030204" pitchFamily="34" charset="0"/>
                </a:rPr>
                <a:t>Prior to May 2019: company with statutory seat in Belgium was refutably presumed to have principal establishment in Belgium in case law</a:t>
              </a: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r>
                <a:rPr lang="en-US" dirty="0">
                  <a:solidFill>
                    <a:srgbClr val="4D4D4F"/>
                  </a:solidFill>
                  <a:latin typeface="Arial" panose="020B0604020202020204" pitchFamily="34" charset="0"/>
                  <a:ea typeface="Calibri" panose="020F0502020204030204" pitchFamily="34" charset="0"/>
                </a:rPr>
                <a:t>As of May 2019: </a:t>
              </a:r>
              <a:r>
                <a:rPr lang="en-US" b="1" dirty="0">
                  <a:solidFill>
                    <a:srgbClr val="4D4D4F"/>
                  </a:solidFill>
                  <a:latin typeface="Arial" panose="020B0604020202020204" pitchFamily="34" charset="0"/>
                  <a:ea typeface="Calibri" panose="020F0502020204030204" pitchFamily="34" charset="0"/>
                </a:rPr>
                <a:t>legal presumption </a:t>
              </a:r>
              <a:r>
                <a:rPr lang="en-US" dirty="0">
                  <a:solidFill>
                    <a:srgbClr val="4D4D4F"/>
                  </a:solidFill>
                  <a:latin typeface="Arial" panose="020B0604020202020204" pitchFamily="34" charset="0"/>
                  <a:ea typeface="Calibri" panose="020F0502020204030204" pitchFamily="34" charset="0"/>
                </a:rPr>
                <a:t>that company with </a:t>
              </a:r>
              <a:r>
                <a:rPr lang="en-US" b="1" dirty="0">
                  <a:solidFill>
                    <a:srgbClr val="4D4D4F"/>
                  </a:solidFill>
                  <a:latin typeface="Arial" panose="020B0604020202020204" pitchFamily="34" charset="0"/>
                  <a:ea typeface="Calibri" panose="020F0502020204030204" pitchFamily="34" charset="0"/>
                </a:rPr>
                <a:t>statutory seat </a:t>
              </a:r>
              <a:r>
                <a:rPr lang="en-US" dirty="0">
                  <a:solidFill>
                    <a:srgbClr val="4D4D4F"/>
                  </a:solidFill>
                  <a:latin typeface="Arial" panose="020B0604020202020204" pitchFamily="34" charset="0"/>
                  <a:ea typeface="Calibri" panose="020F0502020204030204" pitchFamily="34" charset="0"/>
                </a:rPr>
                <a:t>in Belgium has principal establishment in Belgium</a:t>
              </a:r>
            </a:p>
            <a:p>
              <a:pPr marL="285750" indent="-285750">
                <a:buClr>
                  <a:schemeClr val="accent2"/>
                </a:buClr>
                <a:buFont typeface="Arial" panose="020B0604020202020204" pitchFamily="34" charset="0"/>
                <a:buChar char="•"/>
              </a:pPr>
              <a:endParaRPr lang="en-US"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r>
                <a:rPr lang="en-US" dirty="0">
                  <a:solidFill>
                    <a:srgbClr val="4D4D4F"/>
                  </a:solidFill>
                  <a:latin typeface="Arial" panose="020B0604020202020204" pitchFamily="34" charset="0"/>
                  <a:ea typeface="Calibri" panose="020F0502020204030204" pitchFamily="34" charset="0"/>
                </a:rPr>
                <a:t>Presumption can only be rebutted if it is evidenced that tax residence is in other state under tax laws of that state and without having tax residence outside that state by virtue of DTT - reason? </a:t>
              </a: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US" b="1" dirty="0">
                <a:solidFill>
                  <a:srgbClr val="4D4D4F"/>
                </a:solidFill>
                <a:latin typeface="Arial" panose="020B0604020202020204" pitchFamily="34" charset="0"/>
                <a:ea typeface="Calibri" panose="020F0502020204030204" pitchFamily="34" charset="0"/>
              </a:endParaRPr>
            </a:p>
            <a:p>
              <a:pPr marL="285750" indent="-285750">
                <a:buClr>
                  <a:schemeClr val="accent2"/>
                </a:buClr>
                <a:buFont typeface="Arial" panose="020B0604020202020204" pitchFamily="34" charset="0"/>
                <a:buChar char="•"/>
              </a:pPr>
              <a:endParaRPr lang="en-NL" b="1" dirty="0">
                <a:solidFill>
                  <a:schemeClr val="bg1"/>
                </a:solidFill>
              </a:endParaRPr>
            </a:p>
          </p:txBody>
        </p:sp>
        <p:sp>
          <p:nvSpPr>
            <p:cNvPr id="12" name="Rectangle 11">
              <a:extLst>
                <a:ext uri="{FF2B5EF4-FFF2-40B4-BE49-F238E27FC236}">
                  <a16:creationId xmlns:a16="http://schemas.microsoft.com/office/drawing/2014/main" id="{896BFDEA-B45D-4702-080E-A37EB1F0C39B}"/>
                </a:ext>
              </a:extLst>
            </p:cNvPr>
            <p:cNvSpPr/>
            <p:nvPr/>
          </p:nvSpPr>
          <p:spPr>
            <a:xfrm>
              <a:off x="7366953" y="1514453"/>
              <a:ext cx="5017635" cy="317128"/>
            </a:xfrm>
            <a:prstGeom prst="rect">
              <a:avLst/>
            </a:prstGeom>
            <a:gradFill>
              <a:gsLst>
                <a:gs pos="0">
                  <a:srgbClr val="0078B6"/>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72000" bIns="36000" rtlCol="0" anchor="ctr" anchorCtr="0">
              <a:noAutofit/>
            </a:bodyPr>
            <a:lstStyle/>
            <a:p>
              <a:pPr algn="ctr">
                <a:lnSpc>
                  <a:spcPct val="95000"/>
                </a:lnSpc>
              </a:pPr>
              <a:r>
                <a:rPr lang="en-US" sz="2400" b="1" dirty="0">
                  <a:solidFill>
                    <a:schemeClr val="bg1"/>
                  </a:solidFill>
                </a:rPr>
                <a:t>Formal  </a:t>
              </a:r>
            </a:p>
          </p:txBody>
        </p:sp>
      </p:grpSp>
    </p:spTree>
    <p:extLst>
      <p:ext uri="{BB962C8B-B14F-4D97-AF65-F5344CB8AC3E}">
        <p14:creationId xmlns:p14="http://schemas.microsoft.com/office/powerpoint/2010/main" val="1741375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908762"/>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Principal establishment is place where a company is managed and controlled, irrespective of where activities are carried out</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oncept included in corporate tax law early 20th century to tie in with concept used for corporate law purposes</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Relevant questions: </a:t>
            </a:r>
          </a:p>
          <a:p>
            <a:pPr marL="508000" lvl="1" indent="-285750">
              <a:spcAft>
                <a:spcPts val="600"/>
              </a:spcAft>
              <a:buClr>
                <a:srgbClr val="00B0F0"/>
              </a:buClr>
            </a:pPr>
            <a:r>
              <a:rPr lang="nl-BE" sz="1400" b="1" dirty="0" err="1">
                <a:solidFill>
                  <a:schemeClr val="bg2"/>
                </a:solidFill>
                <a:latin typeface="Arial" panose="020B0604020202020204" pitchFamily="34" charset="0"/>
              </a:rPr>
              <a:t>What</a:t>
            </a:r>
            <a:r>
              <a:rPr lang="nl-BE" sz="1400" b="1" dirty="0">
                <a:solidFill>
                  <a:schemeClr val="bg2"/>
                </a:solidFill>
                <a:latin typeface="Arial" panose="020B0604020202020204" pitchFamily="34" charset="0"/>
              </a:rPr>
              <a:t> </a:t>
            </a:r>
            <a:r>
              <a:rPr lang="nl-BE" sz="1400" dirty="0">
                <a:solidFill>
                  <a:schemeClr val="bg2"/>
                </a:solidFill>
                <a:latin typeface="Arial" panose="020B0604020202020204" pitchFamily="34" charset="0"/>
              </a:rPr>
              <a:t>management level?</a:t>
            </a:r>
          </a:p>
          <a:p>
            <a:pPr marL="508000" lvl="1" indent="-285750">
              <a:spcAft>
                <a:spcPts val="600"/>
              </a:spcAft>
              <a:buClr>
                <a:srgbClr val="00B0F0"/>
              </a:buClr>
            </a:pPr>
            <a:r>
              <a:rPr lang="en-BE" sz="1400" b="1" dirty="0">
                <a:solidFill>
                  <a:schemeClr val="bg2"/>
                </a:solidFill>
                <a:latin typeface="Arial" panose="020B0604020202020204" pitchFamily="34" charset="0"/>
              </a:rPr>
              <a:t>Who</a:t>
            </a:r>
            <a:r>
              <a:rPr lang="en-BE" sz="1400" dirty="0">
                <a:solidFill>
                  <a:schemeClr val="bg2"/>
                </a:solidFill>
                <a:latin typeface="Arial" panose="020B0604020202020204" pitchFamily="34" charset="0"/>
              </a:rPr>
              <a:t> manages the company?</a:t>
            </a:r>
          </a:p>
          <a:p>
            <a:pPr marL="508000" lvl="1" indent="-285750">
              <a:spcAft>
                <a:spcPts val="600"/>
              </a:spcAft>
              <a:buClr>
                <a:srgbClr val="00B0F0"/>
              </a:buClr>
            </a:pPr>
            <a:r>
              <a:rPr lang="en-BE" sz="1400" b="1" dirty="0">
                <a:solidFill>
                  <a:schemeClr val="bg2"/>
                </a:solidFill>
                <a:latin typeface="Arial" panose="020B0604020202020204" pitchFamily="34" charset="0"/>
              </a:rPr>
              <a:t>Where</a:t>
            </a:r>
            <a:r>
              <a:rPr lang="en-BE" sz="1400" dirty="0">
                <a:solidFill>
                  <a:schemeClr val="bg2"/>
                </a:solidFill>
                <a:latin typeface="Arial" panose="020B0604020202020204" pitchFamily="34" charset="0"/>
              </a:rPr>
              <a:t> is the company managed</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orporate residence determined via factual presumptions.</a:t>
            </a: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principal establishment </a:t>
            </a:r>
            <a:endParaRPr sz="2400" dirty="0"/>
          </a:p>
        </p:txBody>
      </p:sp>
      <p:pic>
        <p:nvPicPr>
          <p:cNvPr id="6" name="Picture Placeholder 5" descr="A white cartoon character carrying a red question mark over his head&#10;&#10;Description automatically generated">
            <a:extLst>
              <a:ext uri="{FF2B5EF4-FFF2-40B4-BE49-F238E27FC236}">
                <a16:creationId xmlns:a16="http://schemas.microsoft.com/office/drawing/2014/main" id="{FF2A0E67-DC20-5EA3-BAB2-E540E42274DD}"/>
              </a:ext>
            </a:extLst>
          </p:cNvPr>
          <p:cNvPicPr>
            <a:picLocks noGrp="1" noChangeAspect="1"/>
          </p:cNvPicPr>
          <p:nvPr>
            <p:ph type="pic" sz="quarter" idx="13"/>
          </p:nvPr>
        </p:nvPicPr>
        <p:blipFill>
          <a:blip r:embed="rId3"/>
          <a:srcRect l="22817" r="22817"/>
          <a:stretch>
            <a:fillRect/>
          </a:stretch>
        </p:blipFill>
        <p:spPr/>
      </p:pic>
    </p:spTree>
    <p:extLst>
      <p:ext uri="{BB962C8B-B14F-4D97-AF65-F5344CB8AC3E}">
        <p14:creationId xmlns:p14="http://schemas.microsoft.com/office/powerpoint/2010/main" val="404213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3836948"/>
          </a:xfrm>
        </p:spPr>
        <p:txBody>
          <a:bodyPr/>
          <a:lstStyle/>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Company in principle managed and controlled by </a:t>
            </a:r>
            <a:r>
              <a:rPr lang="en-BE" b="1" dirty="0">
                <a:solidFill>
                  <a:schemeClr val="bg2"/>
                </a:solidFill>
                <a:latin typeface="Arial" panose="020B0604020202020204" pitchFamily="34" charset="0"/>
              </a:rPr>
              <a:t>person or body responsible for strategic management</a:t>
            </a:r>
            <a:r>
              <a:rPr lang="en-BE" dirty="0">
                <a:solidFill>
                  <a:schemeClr val="bg2"/>
                </a:solidFill>
                <a:latin typeface="Arial" panose="020B0604020202020204" pitchFamily="34" charset="0"/>
              </a:rPr>
              <a:t>, typically board of directors</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Reality prevails, no rubber stamping</a:t>
            </a:r>
            <a:r>
              <a:rPr lang="nl-BE" dirty="0">
                <a:solidFill>
                  <a:schemeClr val="bg2"/>
                </a:solidFill>
                <a:latin typeface="Arial" panose="020B0604020202020204" pitchFamily="34" charset="0"/>
              </a:rPr>
              <a:t>.</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Facts can reveal that managing director or shareholder in reality take most important decisions  </a:t>
            </a: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In group structure it cannot be lightly assumed that employees of Belgian group companies that form part of board of directors of Luxembourg company cannot take decisions in independent manner (Brussels 23 November 2017).</a:t>
            </a:r>
          </a:p>
          <a:p>
            <a:pPr>
              <a:spcAft>
                <a:spcPts val="600"/>
              </a:spcAft>
              <a:buClr>
                <a:srgbClr val="00B0F0"/>
              </a:buClr>
            </a:pPr>
            <a:r>
              <a:rPr lang="nl-BE" dirty="0">
                <a:solidFill>
                  <a:schemeClr val="bg2"/>
                </a:solidFill>
                <a:latin typeface="Arial" panose="020B0604020202020204" pitchFamily="34" charset="0"/>
              </a:rPr>
              <a:t>	</a:t>
            </a: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principal establishment </a:t>
            </a:r>
            <a:endParaRPr sz="2400" dirty="0"/>
          </a:p>
        </p:txBody>
      </p:sp>
      <p:grpSp>
        <p:nvGrpSpPr>
          <p:cNvPr id="15" name="Group 14">
            <a:extLst>
              <a:ext uri="{FF2B5EF4-FFF2-40B4-BE49-F238E27FC236}">
                <a16:creationId xmlns:a16="http://schemas.microsoft.com/office/drawing/2014/main" id="{0EB38ECA-F50D-9673-7BB4-6040FAB5CDE0}"/>
              </a:ext>
            </a:extLst>
          </p:cNvPr>
          <p:cNvGrpSpPr/>
          <p:nvPr/>
        </p:nvGrpSpPr>
        <p:grpSpPr>
          <a:xfrm>
            <a:off x="7032171" y="803956"/>
            <a:ext cx="4901284" cy="5755594"/>
            <a:chOff x="7032171" y="803956"/>
            <a:chExt cx="4901284" cy="5755594"/>
          </a:xfrm>
        </p:grpSpPr>
        <p:grpSp>
          <p:nvGrpSpPr>
            <p:cNvPr id="8" name="Groep 3">
              <a:extLst>
                <a:ext uri="{FF2B5EF4-FFF2-40B4-BE49-F238E27FC236}">
                  <a16:creationId xmlns:a16="http://schemas.microsoft.com/office/drawing/2014/main" id="{B33A6CE7-49E1-1660-7B6D-37E50CAEE5E7}"/>
                </a:ext>
              </a:extLst>
            </p:cNvPr>
            <p:cNvGrpSpPr/>
            <p:nvPr/>
          </p:nvGrpSpPr>
          <p:grpSpPr>
            <a:xfrm>
              <a:off x="7032171" y="803956"/>
              <a:ext cx="4901284" cy="5755594"/>
              <a:chOff x="263526" y="987576"/>
              <a:chExt cx="5545134" cy="5249712"/>
            </a:xfrm>
          </p:grpSpPr>
          <p:sp>
            <p:nvSpPr>
              <p:cNvPr id="11" name="Text Box 8">
                <a:extLst>
                  <a:ext uri="{FF2B5EF4-FFF2-40B4-BE49-F238E27FC236}">
                    <a16:creationId xmlns:a16="http://schemas.microsoft.com/office/drawing/2014/main" id="{7470D31E-8175-2B4D-F1A3-979A1138C0AC}"/>
                  </a:ext>
                </a:extLst>
              </p:cNvPr>
              <p:cNvSpPr txBox="1">
                <a:spLocks/>
              </p:cNvSpPr>
              <p:nvPr/>
            </p:nvSpPr>
            <p:spPr>
              <a:xfrm>
                <a:off x="263526" y="987576"/>
                <a:ext cx="5545134" cy="5249712"/>
              </a:xfrm>
              <a:prstGeom prst="rect">
                <a:avLst/>
              </a:prstGeom>
              <a:solidFill>
                <a:schemeClr val="accent5"/>
              </a:solidFill>
              <a:ln>
                <a:noFill/>
                <a:prstDash val="sysDot"/>
              </a:ln>
            </p:spPr>
            <p:txBody>
              <a:bodyPr vert="horz" lIns="45720" tIns="45720" rIns="4572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 name="Graphic 9">
                <a:extLst>
                  <a:ext uri="{FF2B5EF4-FFF2-40B4-BE49-F238E27FC236}">
                    <a16:creationId xmlns:a16="http://schemas.microsoft.com/office/drawing/2014/main" id="{DC523184-041A-31CB-BE7F-64AA8D266649}"/>
                  </a:ext>
                </a:extLst>
              </p:cNvPr>
              <p:cNvSpPr/>
              <p:nvPr/>
            </p:nvSpPr>
            <p:spPr>
              <a:xfrm>
                <a:off x="731404" y="987576"/>
                <a:ext cx="407320" cy="171504"/>
              </a:xfrm>
              <a:custGeom>
                <a:avLst/>
                <a:gdLst>
                  <a:gd name="connsiteX0" fmla="*/ 520303 w 1040606"/>
                  <a:gd name="connsiteY0" fmla="*/ 438150 h 438150"/>
                  <a:gd name="connsiteX1" fmla="*/ 1040606 w 1040606"/>
                  <a:gd name="connsiteY1" fmla="*/ 0 h 438150"/>
                  <a:gd name="connsiteX2" fmla="*/ 0 w 1040606"/>
                  <a:gd name="connsiteY2" fmla="*/ 0 h 438150"/>
                  <a:gd name="connsiteX3" fmla="*/ 520303 w 1040606"/>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1040606" h="438150">
                    <a:moveTo>
                      <a:pt x="520303" y="438150"/>
                    </a:moveTo>
                    <a:cubicBezTo>
                      <a:pt x="520303" y="160477"/>
                      <a:pt x="750789" y="0"/>
                      <a:pt x="1040606" y="0"/>
                    </a:cubicBezTo>
                    <a:lnTo>
                      <a:pt x="0" y="0"/>
                    </a:lnTo>
                    <a:cubicBezTo>
                      <a:pt x="289817" y="0"/>
                      <a:pt x="520303" y="160611"/>
                      <a:pt x="520303" y="438150"/>
                    </a:cubicBezTo>
                    <a:close/>
                  </a:path>
                </a:pathLst>
              </a:custGeom>
              <a:solidFill>
                <a:schemeClr val="bg1"/>
              </a:solidFill>
              <a:ln w="9525" cap="flat">
                <a:noFill/>
                <a:prstDash val="solid"/>
                <a:miter/>
              </a:ln>
            </p:spPr>
            <p:txBody>
              <a:bodyPr rtlCol="0" anchor="ctr"/>
              <a:lstStyle/>
              <a:p>
                <a:endParaRPr lang="en-GB"/>
              </a:p>
            </p:txBody>
          </p:sp>
        </p:grpSp>
        <p:grpSp>
          <p:nvGrpSpPr>
            <p:cNvPr id="3" name="Group 2">
              <a:extLst>
                <a:ext uri="{FF2B5EF4-FFF2-40B4-BE49-F238E27FC236}">
                  <a16:creationId xmlns:a16="http://schemas.microsoft.com/office/drawing/2014/main" id="{79D8B09F-61EA-D641-24D8-F2EC2338174D}"/>
                </a:ext>
              </a:extLst>
            </p:cNvPr>
            <p:cNvGrpSpPr/>
            <p:nvPr/>
          </p:nvGrpSpPr>
          <p:grpSpPr>
            <a:xfrm>
              <a:off x="7445724" y="923685"/>
              <a:ext cx="3915913" cy="3575349"/>
              <a:chOff x="7546744" y="974762"/>
              <a:chExt cx="4094624" cy="3910142"/>
            </a:xfrm>
          </p:grpSpPr>
          <p:sp>
            <p:nvSpPr>
              <p:cNvPr id="6" name="Rectangle 120">
                <a:extLst>
                  <a:ext uri="{FF2B5EF4-FFF2-40B4-BE49-F238E27FC236}">
                    <a16:creationId xmlns:a16="http://schemas.microsoft.com/office/drawing/2014/main" id="{A834FC14-8655-5EA0-C866-FA4A96F1F420}"/>
                  </a:ext>
                </a:extLst>
              </p:cNvPr>
              <p:cNvSpPr>
                <a:spLocks noChangeArrowheads="1"/>
              </p:cNvSpPr>
              <p:nvPr>
                <p:custDataLst>
                  <p:tags r:id="rId1"/>
                </p:custDataLst>
              </p:nvPr>
            </p:nvSpPr>
            <p:spPr bwMode="auto">
              <a:xfrm>
                <a:off x="10229054" y="4215560"/>
                <a:ext cx="1412314" cy="669344"/>
              </a:xfrm>
              <a:prstGeom prst="rect">
                <a:avLst/>
              </a:prstGeom>
              <a:solidFill>
                <a:schemeClr val="accent1"/>
              </a:solidFill>
              <a:ln>
                <a:solidFill>
                  <a:schemeClr val="bg1">
                    <a:lumMod val="50000"/>
                  </a:schemeClr>
                </a:solid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Hong Kong</a:t>
                </a:r>
              </a:p>
            </p:txBody>
          </p:sp>
          <p:pic>
            <p:nvPicPr>
              <p:cNvPr id="9" name="Graphic 8" descr="User with solid fill">
                <a:extLst>
                  <a:ext uri="{FF2B5EF4-FFF2-40B4-BE49-F238E27FC236}">
                    <a16:creationId xmlns:a16="http://schemas.microsoft.com/office/drawing/2014/main" id="{31134D08-D3A5-6F08-E358-0CB447760C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32359" y="977238"/>
                <a:ext cx="914400" cy="914400"/>
              </a:xfrm>
              <a:prstGeom prst="rect">
                <a:avLst/>
              </a:prstGeom>
            </p:spPr>
          </p:pic>
          <p:pic>
            <p:nvPicPr>
              <p:cNvPr id="10" name="Graphic 9" descr="User with solid fill">
                <a:extLst>
                  <a:ext uri="{FF2B5EF4-FFF2-40B4-BE49-F238E27FC236}">
                    <a16:creationId xmlns:a16="http://schemas.microsoft.com/office/drawing/2014/main" id="{26206DC4-EC17-37E1-97B4-ED28536D42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54759" y="974762"/>
                <a:ext cx="914400" cy="914400"/>
              </a:xfrm>
              <a:prstGeom prst="rect">
                <a:avLst/>
              </a:prstGeom>
            </p:spPr>
          </p:pic>
          <p:cxnSp>
            <p:nvCxnSpPr>
              <p:cNvPr id="12" name="Connector: Elbow 11">
                <a:extLst>
                  <a:ext uri="{FF2B5EF4-FFF2-40B4-BE49-F238E27FC236}">
                    <a16:creationId xmlns:a16="http://schemas.microsoft.com/office/drawing/2014/main" id="{BA9CC8F3-6FC4-DF4E-267A-DC2789F28A74}"/>
                  </a:ext>
                </a:extLst>
              </p:cNvPr>
              <p:cNvCxnSpPr>
                <a:cxnSpLocks/>
              </p:cNvCxnSpPr>
              <p:nvPr/>
            </p:nvCxnSpPr>
            <p:spPr>
              <a:xfrm rot="16200000" flipH="1">
                <a:off x="7960858" y="2824841"/>
                <a:ext cx="2754090" cy="696692"/>
              </a:xfrm>
              <a:prstGeom prst="bentConnector3">
                <a:avLst>
                  <a:gd name="adj1" fmla="val 16008"/>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16B63186-8FCC-33A0-AAA5-561D5C139C1F}"/>
                  </a:ext>
                </a:extLst>
              </p:cNvPr>
              <p:cNvCxnSpPr>
                <a:cxnSpLocks/>
              </p:cNvCxnSpPr>
              <p:nvPr/>
            </p:nvCxnSpPr>
            <p:spPr>
              <a:xfrm rot="5400000">
                <a:off x="9608233" y="1874156"/>
                <a:ext cx="881744" cy="725716"/>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120">
                <a:extLst>
                  <a:ext uri="{FF2B5EF4-FFF2-40B4-BE49-F238E27FC236}">
                    <a16:creationId xmlns:a16="http://schemas.microsoft.com/office/drawing/2014/main" id="{027D554F-3F42-9F72-3C44-EBA1233DA637}"/>
                  </a:ext>
                </a:extLst>
              </p:cNvPr>
              <p:cNvSpPr>
                <a:spLocks noChangeArrowheads="1"/>
              </p:cNvSpPr>
              <p:nvPr>
                <p:custDataLst>
                  <p:tags r:id="rId2"/>
                </p:custDataLst>
              </p:nvPr>
            </p:nvSpPr>
            <p:spPr bwMode="auto">
              <a:xfrm>
                <a:off x="7570103" y="4053328"/>
                <a:ext cx="1412314" cy="669344"/>
              </a:xfrm>
              <a:prstGeom prst="rect">
                <a:avLst/>
              </a:prstGeom>
              <a:solidFill>
                <a:schemeClr val="bg1">
                  <a:lumMod val="75000"/>
                </a:schemeClr>
              </a:solidFill>
              <a:ln>
                <a:solidFill>
                  <a:schemeClr val="bg1">
                    <a:lumMod val="50000"/>
                  </a:schemeClr>
                </a:solid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China</a:t>
                </a:r>
              </a:p>
            </p:txBody>
          </p:sp>
          <p:sp>
            <p:nvSpPr>
              <p:cNvPr id="24" name="Rectangle 120">
                <a:extLst>
                  <a:ext uri="{FF2B5EF4-FFF2-40B4-BE49-F238E27FC236}">
                    <a16:creationId xmlns:a16="http://schemas.microsoft.com/office/drawing/2014/main" id="{EF5E65BD-D268-7AD1-3623-A15CE209032C}"/>
                  </a:ext>
                </a:extLst>
              </p:cNvPr>
              <p:cNvSpPr>
                <a:spLocks noChangeArrowheads="1"/>
              </p:cNvSpPr>
              <p:nvPr>
                <p:custDataLst>
                  <p:tags r:id="rId3"/>
                </p:custDataLst>
              </p:nvPr>
            </p:nvSpPr>
            <p:spPr bwMode="auto">
              <a:xfrm>
                <a:off x="7546744" y="2794790"/>
                <a:ext cx="1412314" cy="669344"/>
              </a:xfrm>
              <a:prstGeom prst="rect">
                <a:avLst/>
              </a:prstGeom>
              <a:solidFill>
                <a:schemeClr val="bg1">
                  <a:lumMod val="75000"/>
                </a:schemeClr>
              </a:solidFill>
              <a:ln>
                <a:solidFill>
                  <a:schemeClr val="bg1">
                    <a:lumMod val="50000"/>
                  </a:schemeClr>
                </a:solidFill>
              </a:ln>
              <a:effectLst/>
            </p:spPr>
            <p:txBody>
              <a:bodyPr vert="horz" wrap="square" lIns="0" tIns="87750" rIns="0" bIns="0" numCol="1" anchor="t" anchorCtr="0" compatLnSpc="1">
                <a:prstTxWarp prst="textNoShape">
                  <a:avLst/>
                </a:prstTxWarp>
                <a:noAutofit/>
              </a:bodyPr>
              <a:lstStyle/>
              <a:p>
                <a:pPr algn="ctr" defTabSz="742950" fontAlgn="base">
                  <a:spcBef>
                    <a:spcPct val="0"/>
                  </a:spcBef>
                  <a:spcAft>
                    <a:spcPct val="0"/>
                  </a:spcAft>
                </a:pPr>
                <a:endParaRPr lang="en-GB" sz="1000" b="1" dirty="0">
                  <a:solidFill>
                    <a:srgbClr val="FFFFFF"/>
                  </a:solidFill>
                  <a:latin typeface="Arial" pitchFamily="34" charset="0"/>
                </a:endParaRPr>
              </a:p>
              <a:p>
                <a:pPr algn="ctr" defTabSz="742950" fontAlgn="base">
                  <a:spcBef>
                    <a:spcPct val="0"/>
                  </a:spcBef>
                  <a:spcAft>
                    <a:spcPct val="0"/>
                  </a:spcAft>
                </a:pPr>
                <a:r>
                  <a:rPr lang="en-GB" sz="1000" b="1" dirty="0">
                    <a:solidFill>
                      <a:srgbClr val="FFFFFF"/>
                    </a:solidFill>
                    <a:latin typeface="Arial" pitchFamily="34" charset="0"/>
                  </a:rPr>
                  <a:t>Belgium</a:t>
                </a:r>
              </a:p>
            </p:txBody>
          </p:sp>
          <p:cxnSp>
            <p:nvCxnSpPr>
              <p:cNvPr id="35" name="Straight Connector 34">
                <a:extLst>
                  <a:ext uri="{FF2B5EF4-FFF2-40B4-BE49-F238E27FC236}">
                    <a16:creationId xmlns:a16="http://schemas.microsoft.com/office/drawing/2014/main" id="{22FB6BF9-8D88-8967-1B33-3E00770D2277}"/>
                  </a:ext>
                </a:extLst>
              </p:cNvPr>
              <p:cNvCxnSpPr>
                <a:stCxn id="24" idx="3"/>
              </p:cNvCxnSpPr>
              <p:nvPr/>
            </p:nvCxnSpPr>
            <p:spPr>
              <a:xfrm>
                <a:off x="8959058" y="3129462"/>
                <a:ext cx="72718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A6C1CB0-148F-99B5-7AF0-35C66E8833A4}"/>
                  </a:ext>
                </a:extLst>
              </p:cNvPr>
              <p:cNvCxnSpPr/>
              <p:nvPr/>
            </p:nvCxnSpPr>
            <p:spPr>
              <a:xfrm>
                <a:off x="9686247" y="4550232"/>
                <a:ext cx="55499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0931D2-60DF-7375-A4B4-5E0C795194CD}"/>
                  </a:ext>
                </a:extLst>
              </p:cNvPr>
              <p:cNvCxnSpPr/>
              <p:nvPr/>
            </p:nvCxnSpPr>
            <p:spPr>
              <a:xfrm>
                <a:off x="7546744" y="3733800"/>
                <a:ext cx="409462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04FEF03-D503-8706-47FB-066F2ACB6A97}"/>
                  </a:ext>
                </a:extLst>
              </p:cNvPr>
              <p:cNvCxnSpPr>
                <a:cxnSpLocks/>
              </p:cNvCxnSpPr>
              <p:nvPr/>
            </p:nvCxnSpPr>
            <p:spPr>
              <a:xfrm>
                <a:off x="8252901" y="3464134"/>
                <a:ext cx="0" cy="58919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9589CBE-D7CF-74F2-E17D-C2C189AB9A13}"/>
                  </a:ext>
                </a:extLst>
              </p:cNvPr>
              <p:cNvPicPr>
                <a:picLocks noChangeAspect="1"/>
              </p:cNvPicPr>
              <p:nvPr/>
            </p:nvPicPr>
            <p:blipFill>
              <a:blip r:embed="rId8"/>
              <a:stretch>
                <a:fillRect/>
              </a:stretch>
            </p:blipFill>
            <p:spPr>
              <a:xfrm>
                <a:off x="11345417" y="3296952"/>
                <a:ext cx="295951" cy="295951"/>
              </a:xfrm>
              <a:prstGeom prst="rect">
                <a:avLst/>
              </a:prstGeom>
            </p:spPr>
          </p:pic>
        </p:grpSp>
        <p:sp>
          <p:nvSpPr>
            <p:cNvPr id="14" name="Prostokąt zaokrąglony">
              <a:extLst>
                <a:ext uri="{FF2B5EF4-FFF2-40B4-BE49-F238E27FC236}">
                  <a16:creationId xmlns:a16="http://schemas.microsoft.com/office/drawing/2014/main" id="{25DBE0FE-6473-2125-89D1-E0409D22B918}"/>
                </a:ext>
              </a:extLst>
            </p:cNvPr>
            <p:cNvSpPr/>
            <p:nvPr/>
          </p:nvSpPr>
          <p:spPr>
            <a:xfrm>
              <a:off x="7141090" y="4728851"/>
              <a:ext cx="4683447" cy="1752959"/>
            </a:xfrm>
            <a:prstGeom prst="roundRect">
              <a:avLst>
                <a:gd name="adj" fmla="val 2148"/>
              </a:avLst>
            </a:prstGeom>
            <a:solidFill>
              <a:schemeClr val="bg1"/>
            </a:solidFill>
            <a:ln w="9525" cap="flat">
              <a:solidFill>
                <a:schemeClr val="accent1"/>
              </a:solidFill>
              <a:prstDash val="sysDot"/>
              <a:round/>
            </a:ln>
            <a:effectLst/>
          </p:spPr>
          <p:txBody>
            <a:bodyPr wrap="square" lIns="72000" tIns="72000" rIns="72000" bIns="72000" numCol="1"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BE" sz="1100" b="1" dirty="0">
                  <a:solidFill>
                    <a:schemeClr val="accent2"/>
                  </a:solidFill>
                  <a:latin typeface="+mj-lt"/>
                </a:rPr>
                <a:t>GHENT 29 MARCH 2022</a:t>
              </a:r>
            </a:p>
            <a:p>
              <a:endParaRPr lang="nl-BE" sz="1100" b="1" dirty="0">
                <a:solidFill>
                  <a:schemeClr val="accent2"/>
                </a:solidFill>
                <a:latin typeface="+mj-lt"/>
              </a:endParaRPr>
            </a:p>
            <a:p>
              <a:pPr marL="342900" indent="-342900" algn="just">
                <a:buFont typeface="Wingdings" panose="05000000000000000000" pitchFamily="2" charset="2"/>
                <a:buChar char="§"/>
              </a:pPr>
              <a:r>
                <a:rPr lang="en-BE" sz="900" dirty="0">
                  <a:solidFill>
                    <a:schemeClr val="bg2"/>
                  </a:solidFill>
                  <a:latin typeface="+mj-lt"/>
                </a:rPr>
                <a:t>Two Hong Kong companies enter into agreement with Belgian shareholders agreeing to act as dire tors and to carry out the instructions of the shareholders</a:t>
              </a:r>
            </a:p>
            <a:p>
              <a:pPr marL="342900" indent="-342900" algn="just">
                <a:buFont typeface="Wingdings" panose="05000000000000000000" pitchFamily="2" charset="2"/>
                <a:buChar char="§"/>
              </a:pPr>
              <a:r>
                <a:rPr lang="en-BE" sz="900" dirty="0">
                  <a:solidFill>
                    <a:schemeClr val="bg2"/>
                  </a:solidFill>
                  <a:latin typeface="+mj-lt"/>
                </a:rPr>
                <a:t>No real activity and no infrastructure</a:t>
              </a:r>
              <a:r>
                <a:rPr lang="nl-BE" sz="900" dirty="0">
                  <a:solidFill>
                    <a:schemeClr val="bg2"/>
                  </a:solidFill>
                  <a:latin typeface="+mj-lt"/>
                </a:rPr>
                <a:t> (no permanent access </a:t>
              </a:r>
              <a:r>
                <a:rPr lang="nl-BE" sz="900" dirty="0" err="1">
                  <a:solidFill>
                    <a:schemeClr val="bg2"/>
                  </a:solidFill>
                  <a:latin typeface="+mj-lt"/>
                </a:rPr>
                <a:t>to</a:t>
              </a:r>
              <a:r>
                <a:rPr lang="nl-BE" sz="900" dirty="0">
                  <a:solidFill>
                    <a:schemeClr val="bg2"/>
                  </a:solidFill>
                  <a:latin typeface="+mj-lt"/>
                </a:rPr>
                <a:t> office)</a:t>
              </a:r>
              <a:endParaRPr lang="en-BE" sz="900" dirty="0">
                <a:solidFill>
                  <a:schemeClr val="bg2"/>
                </a:solidFill>
                <a:latin typeface="+mj-lt"/>
              </a:endParaRPr>
            </a:p>
            <a:p>
              <a:pPr marL="342900" indent="-342900" algn="just">
                <a:buFont typeface="Wingdings" panose="05000000000000000000" pitchFamily="2" charset="2"/>
                <a:buChar char="§"/>
              </a:pPr>
              <a:r>
                <a:rPr lang="en-BE" sz="900" dirty="0">
                  <a:solidFill>
                    <a:schemeClr val="bg2"/>
                  </a:solidFill>
                  <a:latin typeface="+mj-lt"/>
                </a:rPr>
                <a:t>Hong Kong Bank uses Belgian correspondence address</a:t>
              </a:r>
            </a:p>
            <a:p>
              <a:pPr marL="342900" indent="-342900" algn="just">
                <a:buFont typeface="Wingdings" panose="05000000000000000000" pitchFamily="2" charset="2"/>
                <a:buChar char="§"/>
              </a:pPr>
              <a:r>
                <a:rPr lang="en-BE" sz="900" dirty="0">
                  <a:solidFill>
                    <a:schemeClr val="bg2"/>
                  </a:solidFill>
                  <a:latin typeface="+mj-lt"/>
                </a:rPr>
                <a:t>Employees have no decision-making power </a:t>
              </a:r>
            </a:p>
            <a:p>
              <a:pPr marL="342900" indent="-342900" algn="just">
                <a:buFont typeface="Wingdings" panose="05000000000000000000" pitchFamily="2" charset="2"/>
                <a:buChar char="§"/>
              </a:pPr>
              <a:r>
                <a:rPr lang="en-BE" sz="900" dirty="0">
                  <a:solidFill>
                    <a:schemeClr val="bg2"/>
                  </a:solidFill>
                  <a:latin typeface="+mj-lt"/>
                </a:rPr>
                <a:t>Belgian shareholders manage bank account </a:t>
              </a:r>
            </a:p>
            <a:p>
              <a:pPr marL="342900" indent="-342900" algn="just">
                <a:buFont typeface="Wingdings" panose="05000000000000000000" pitchFamily="2" charset="2"/>
                <a:buChar char="§"/>
              </a:pPr>
              <a:r>
                <a:rPr lang="en-BE" sz="900" dirty="0">
                  <a:solidFill>
                    <a:schemeClr val="bg2"/>
                  </a:solidFill>
                  <a:latin typeface="+mj-lt"/>
                </a:rPr>
                <a:t>Belgian shareholders in reality manage the Hong Kong company</a:t>
              </a:r>
              <a:r>
                <a:rPr lang="nl-BE" sz="900" dirty="0">
                  <a:solidFill>
                    <a:schemeClr val="bg2"/>
                  </a:solidFill>
                  <a:latin typeface="+mj-lt"/>
                </a:rPr>
                <a:t> </a:t>
              </a:r>
              <a:r>
                <a:rPr lang="nl-BE" sz="900" dirty="0" err="1">
                  <a:solidFill>
                    <a:schemeClr val="bg2"/>
                  </a:solidFill>
                  <a:latin typeface="+mj-lt"/>
                </a:rPr>
                <a:t>from</a:t>
              </a:r>
              <a:r>
                <a:rPr lang="nl-BE" sz="900" dirty="0">
                  <a:solidFill>
                    <a:schemeClr val="bg2"/>
                  </a:solidFill>
                  <a:latin typeface="+mj-lt"/>
                </a:rPr>
                <a:t> Belgium</a:t>
              </a:r>
            </a:p>
            <a:p>
              <a:pPr marL="342900" indent="-342900" algn="just">
                <a:buFont typeface="Wingdings" panose="05000000000000000000" pitchFamily="2" charset="2"/>
                <a:buChar char="§"/>
              </a:pPr>
              <a:r>
                <a:rPr lang="nl-BE" sz="900" dirty="0">
                  <a:solidFill>
                    <a:schemeClr val="bg2"/>
                  </a:solidFill>
                  <a:latin typeface="+mj-lt"/>
                </a:rPr>
                <a:t>Court: </a:t>
              </a:r>
              <a:r>
                <a:rPr lang="en-US" sz="900" i="1" dirty="0">
                  <a:solidFill>
                    <a:schemeClr val="bg2"/>
                  </a:solidFill>
                  <a:latin typeface="+mj-lt"/>
                </a:rPr>
                <a:t>"Nankeen Limited and Uni- </a:t>
              </a:r>
              <a:r>
                <a:rPr lang="en-US" sz="900" i="1" dirty="0" err="1">
                  <a:solidFill>
                    <a:schemeClr val="bg2"/>
                  </a:solidFill>
                  <a:latin typeface="+mj-lt"/>
                </a:rPr>
                <a:t>Quali</a:t>
              </a:r>
              <a:r>
                <a:rPr lang="en-US" sz="900" i="1" dirty="0">
                  <a:solidFill>
                    <a:schemeClr val="bg2"/>
                  </a:solidFill>
                  <a:latin typeface="+mj-lt"/>
                </a:rPr>
                <a:t> Limited, signing as ‘nominee director’ act merely formally as directors but have no actual management powers”</a:t>
              </a:r>
            </a:p>
            <a:p>
              <a:pPr marL="342900" indent="-342900" algn="just">
                <a:buFont typeface="Wingdings" panose="05000000000000000000" pitchFamily="2" charset="2"/>
                <a:buChar char="§"/>
              </a:pPr>
              <a:endParaRPr lang="en-BE" sz="900" dirty="0">
                <a:solidFill>
                  <a:schemeClr val="bg2"/>
                </a:solidFill>
                <a:latin typeface="+mj-lt"/>
              </a:endParaRPr>
            </a:p>
          </p:txBody>
        </p:sp>
      </p:grpSp>
    </p:spTree>
    <p:extLst>
      <p:ext uri="{BB962C8B-B14F-4D97-AF65-F5344CB8AC3E}">
        <p14:creationId xmlns:p14="http://schemas.microsoft.com/office/powerpoint/2010/main" val="147869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7731AB-3CDC-9F84-AC26-8C3383422FE5}"/>
              </a:ext>
            </a:extLst>
          </p:cNvPr>
          <p:cNvSpPr>
            <a:spLocks noGrp="1"/>
          </p:cNvSpPr>
          <p:nvPr>
            <p:ph type="body" sz="quarter" idx="10"/>
          </p:nvPr>
        </p:nvSpPr>
        <p:spPr>
          <a:xfrm>
            <a:off x="263525" y="1013732"/>
            <a:ext cx="5940425" cy="4826962"/>
          </a:xfrm>
        </p:spPr>
        <p:txBody>
          <a:bodyPr/>
          <a:lstStyle/>
          <a:p>
            <a:pPr marL="285750" indent="-285750">
              <a:spcAft>
                <a:spcPts val="600"/>
              </a:spcAft>
              <a:buClr>
                <a:srgbClr val="00B0F0"/>
              </a:buClr>
              <a:buFont typeface="Arial" panose="020B0604020202020204" pitchFamily="34" charset="0"/>
              <a:buChar char="•"/>
            </a:pPr>
            <a:r>
              <a:rPr lang="en-BE" b="1" dirty="0">
                <a:solidFill>
                  <a:schemeClr val="bg2"/>
                </a:solidFill>
                <a:latin typeface="Arial" panose="020B0604020202020204" pitchFamily="34" charset="0"/>
              </a:rPr>
              <a:t>Where</a:t>
            </a:r>
            <a:r>
              <a:rPr lang="en-BE" dirty="0">
                <a:solidFill>
                  <a:schemeClr val="bg2"/>
                </a:solidFill>
                <a:latin typeface="Arial" panose="020B0604020202020204" pitchFamily="34" charset="0"/>
              </a:rPr>
              <a:t> the company takes most important decisions must be assessed according to facts</a:t>
            </a:r>
            <a:r>
              <a:rPr lang="nl-BE" dirty="0">
                <a:solidFill>
                  <a:schemeClr val="bg2"/>
                </a:solidFill>
                <a:latin typeface="Arial" panose="020B0604020202020204" pitchFamily="34" charset="0"/>
              </a:rPr>
              <a:t>.</a:t>
            </a:r>
            <a:endParaRPr lang="en-BE" dirty="0">
              <a:solidFill>
                <a:schemeClr val="bg2"/>
              </a:solidFill>
              <a:latin typeface="Arial" panose="020B0604020202020204" pitchFamily="34" charset="0"/>
            </a:endParaRPr>
          </a:p>
          <a:p>
            <a:pPr marL="285750" indent="-285750">
              <a:spcAft>
                <a:spcPts val="600"/>
              </a:spcAft>
              <a:buClr>
                <a:srgbClr val="00B0F0"/>
              </a:buClr>
              <a:buFont typeface="Arial" panose="020B0604020202020204" pitchFamily="34" charset="0"/>
              <a:buChar char="•"/>
            </a:pPr>
            <a:r>
              <a:rPr lang="en-BE" dirty="0">
                <a:solidFill>
                  <a:schemeClr val="bg2"/>
                </a:solidFill>
                <a:latin typeface="Arial" panose="020B0604020202020204" pitchFamily="34" charset="0"/>
              </a:rPr>
              <a:t>Various facts are considered in case law, e.g. </a:t>
            </a:r>
          </a:p>
          <a:p>
            <a:pPr marL="508000" lvl="1" indent="-285750">
              <a:spcAft>
                <a:spcPts val="600"/>
              </a:spcAft>
              <a:buClr>
                <a:srgbClr val="00B0F0"/>
              </a:buClr>
            </a:pPr>
            <a:r>
              <a:rPr lang="en-BE" sz="1400" dirty="0">
                <a:solidFill>
                  <a:schemeClr val="bg2"/>
                </a:solidFill>
                <a:latin typeface="Arial" panose="020B0604020202020204" pitchFamily="34" charset="0"/>
              </a:rPr>
              <a:t>Place where general meeting of shareholders </a:t>
            </a:r>
            <a:r>
              <a:rPr lang="nl-BE" sz="1400" dirty="0" err="1">
                <a:solidFill>
                  <a:schemeClr val="bg2"/>
                </a:solidFill>
                <a:latin typeface="Arial" panose="020B0604020202020204" pitchFamily="34" charset="0"/>
              </a:rPr>
              <a:t>and</a:t>
            </a:r>
            <a:r>
              <a:rPr lang="en-BE" sz="1400" dirty="0">
                <a:solidFill>
                  <a:schemeClr val="bg2"/>
                </a:solidFill>
                <a:latin typeface="Arial" panose="020B0604020202020204" pitchFamily="34" charset="0"/>
              </a:rPr>
              <a:t> board meetings are held;</a:t>
            </a:r>
          </a:p>
          <a:p>
            <a:pPr marL="508000" lvl="1" indent="-285750">
              <a:spcAft>
                <a:spcPts val="600"/>
              </a:spcAft>
              <a:buClr>
                <a:srgbClr val="00B0F0"/>
              </a:buClr>
            </a:pPr>
            <a:r>
              <a:rPr lang="en-BE" sz="1400" dirty="0">
                <a:solidFill>
                  <a:schemeClr val="bg2"/>
                </a:solidFill>
                <a:latin typeface="Arial" panose="020B0604020202020204" pitchFamily="34" charset="0"/>
              </a:rPr>
              <a:t>Place of correspondence</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508000" lvl="1" indent="-285750">
              <a:spcAft>
                <a:spcPts val="600"/>
              </a:spcAft>
              <a:buClr>
                <a:srgbClr val="00B0F0"/>
              </a:buClr>
            </a:pPr>
            <a:r>
              <a:rPr lang="en-BE" sz="1400" dirty="0">
                <a:solidFill>
                  <a:schemeClr val="bg2"/>
                </a:solidFill>
                <a:latin typeface="Arial" panose="020B0604020202020204" pitchFamily="34" charset="0"/>
              </a:rPr>
              <a:t>Place where directors carry out activities</a:t>
            </a:r>
            <a:r>
              <a:rPr lang="nl-BE" sz="1400" dirty="0">
                <a:solidFill>
                  <a:schemeClr val="bg2"/>
                </a:solidFill>
                <a:latin typeface="Arial" panose="020B0604020202020204" pitchFamily="34" charset="0"/>
              </a:rPr>
              <a:t>;</a:t>
            </a:r>
            <a:endParaRPr lang="en-BE" sz="1400" dirty="0">
              <a:solidFill>
                <a:schemeClr val="bg2"/>
              </a:solidFill>
              <a:latin typeface="Arial" panose="020B0604020202020204" pitchFamily="34" charset="0"/>
            </a:endParaRPr>
          </a:p>
          <a:p>
            <a:pPr marL="508000" lvl="1" indent="-285750">
              <a:spcAft>
                <a:spcPts val="600"/>
              </a:spcAft>
              <a:buClr>
                <a:srgbClr val="00B0F0"/>
              </a:buClr>
            </a:pPr>
            <a:r>
              <a:rPr lang="en-BE" sz="1400" dirty="0">
                <a:solidFill>
                  <a:schemeClr val="bg2"/>
                </a:solidFill>
                <a:latin typeface="Arial" panose="020B0604020202020204" pitchFamily="34" charset="0"/>
              </a:rPr>
              <a:t>Place where important documents are signed;</a:t>
            </a:r>
          </a:p>
          <a:p>
            <a:pPr marL="508000" lvl="1" indent="-285750">
              <a:spcAft>
                <a:spcPts val="600"/>
              </a:spcAft>
              <a:buClr>
                <a:srgbClr val="00B0F0"/>
              </a:buClr>
            </a:pPr>
            <a:r>
              <a:rPr lang="en-BE" sz="1400" dirty="0">
                <a:solidFill>
                  <a:schemeClr val="bg2"/>
                </a:solidFill>
                <a:latin typeface="Arial" panose="020B0604020202020204" pitchFamily="34" charset="0"/>
              </a:rPr>
              <a:t>Place where accounts and important docs are kept;</a:t>
            </a:r>
          </a:p>
          <a:p>
            <a:pPr marL="508000" lvl="1" indent="-285750">
              <a:spcAft>
                <a:spcPts val="600"/>
              </a:spcAft>
              <a:buClr>
                <a:srgbClr val="00B0F0"/>
              </a:buClr>
            </a:pPr>
            <a:r>
              <a:rPr lang="en-BE" sz="1400" dirty="0">
                <a:solidFill>
                  <a:schemeClr val="bg2"/>
                </a:solidFill>
                <a:latin typeface="Arial" panose="020B0604020202020204" pitchFamily="34" charset="0"/>
              </a:rPr>
              <a:t>Place where offices are located and infrastructure is available;</a:t>
            </a:r>
          </a:p>
          <a:p>
            <a:pPr marL="508000" lvl="1" indent="-285750">
              <a:spcAft>
                <a:spcPts val="600"/>
              </a:spcAft>
              <a:buClr>
                <a:srgbClr val="00B0F0"/>
              </a:buClr>
            </a:pPr>
            <a:r>
              <a:rPr lang="en-BE" sz="1400" dirty="0">
                <a:solidFill>
                  <a:schemeClr val="bg2"/>
                </a:solidFill>
                <a:latin typeface="Arial" panose="020B0604020202020204" pitchFamily="34" charset="0"/>
              </a:rPr>
              <a:t>Place where main bank account is kept and from where account is managed;</a:t>
            </a:r>
          </a:p>
          <a:p>
            <a:pPr marL="508000" lvl="1" indent="-285750">
              <a:spcAft>
                <a:spcPts val="600"/>
              </a:spcAft>
              <a:buClr>
                <a:srgbClr val="00B0F0"/>
              </a:buClr>
            </a:pPr>
            <a:r>
              <a:rPr lang="en-BE" sz="1400" dirty="0">
                <a:solidFill>
                  <a:schemeClr val="bg2"/>
                </a:solidFill>
                <a:latin typeface="Arial" panose="020B0604020202020204" pitchFamily="34" charset="0"/>
              </a:rPr>
              <a:t>Place of residence of directors;</a:t>
            </a:r>
          </a:p>
          <a:p>
            <a:pPr marL="508000" lvl="1" indent="-285750">
              <a:spcAft>
                <a:spcPts val="600"/>
              </a:spcAft>
              <a:buClr>
                <a:srgbClr val="00B0F0"/>
              </a:buClr>
            </a:pPr>
            <a:r>
              <a:rPr lang="en-BE" sz="1400" dirty="0">
                <a:solidFill>
                  <a:schemeClr val="bg2"/>
                </a:solidFill>
                <a:latin typeface="Arial" panose="020B0604020202020204" pitchFamily="34" charset="0"/>
              </a:rPr>
              <a:t>Place where tax return is filed and formalities are fulfilled;</a:t>
            </a:r>
          </a:p>
          <a:p>
            <a:pPr marL="508000" lvl="1" indent="-285750">
              <a:spcAft>
                <a:spcPts val="600"/>
              </a:spcAft>
              <a:buClr>
                <a:srgbClr val="00B0F0"/>
              </a:buClr>
            </a:pPr>
            <a:r>
              <a:rPr lang="en-BE" sz="1400" dirty="0">
                <a:solidFill>
                  <a:schemeClr val="bg2"/>
                </a:solidFill>
                <a:latin typeface="Arial" panose="020B0604020202020204" pitchFamily="34" charset="0"/>
              </a:rPr>
              <a:t>… </a:t>
            </a:r>
          </a:p>
        </p:txBody>
      </p:sp>
      <p:sp>
        <p:nvSpPr>
          <p:cNvPr id="7" name="Title 1">
            <a:extLst>
              <a:ext uri="{FF2B5EF4-FFF2-40B4-BE49-F238E27FC236}">
                <a16:creationId xmlns:a16="http://schemas.microsoft.com/office/drawing/2014/main" id="{F6E55744-F86A-E915-71B2-6E4317E0F0D3}"/>
              </a:ext>
            </a:extLst>
          </p:cNvPr>
          <p:cNvSpPr txBox="1">
            <a:spLocks noGrp="1"/>
          </p:cNvSpPr>
          <p:nvPr>
            <p:ph type="title"/>
          </p:nvPr>
        </p:nvSpPr>
        <p:spPr>
          <a:xfrm>
            <a:off x="265113" y="298450"/>
            <a:ext cx="9647237" cy="313932"/>
          </a:xfrm>
          <a:prstGeom prst="rect">
            <a:avLst/>
          </a:prstGeom>
        </p:spPr>
        <p:txBody>
          <a:bodyPr/>
          <a:lstStyle>
            <a:lvl1pPr defTabSz="813816"/>
          </a:lstStyle>
          <a:p>
            <a:r>
              <a:rPr lang="en-US" sz="2400" dirty="0"/>
              <a:t>Concept of residency – principal establishment </a:t>
            </a:r>
            <a:endParaRPr sz="2400" dirty="0"/>
          </a:p>
        </p:txBody>
      </p:sp>
      <p:pic>
        <p:nvPicPr>
          <p:cNvPr id="13" name="Picture Placeholder 12" descr="A long conference table with chairs in a room&#10;&#10;Description automatically generated">
            <a:extLst>
              <a:ext uri="{FF2B5EF4-FFF2-40B4-BE49-F238E27FC236}">
                <a16:creationId xmlns:a16="http://schemas.microsoft.com/office/drawing/2014/main" id="{62F0EAA3-3553-BD6A-AA66-5BAB2666E380}"/>
              </a:ext>
            </a:extLst>
          </p:cNvPr>
          <p:cNvPicPr>
            <a:picLocks noGrp="1" noChangeAspect="1"/>
          </p:cNvPicPr>
          <p:nvPr>
            <p:ph type="pic" sz="quarter" idx="13"/>
          </p:nvPr>
        </p:nvPicPr>
        <p:blipFill>
          <a:blip r:embed="rId3"/>
          <a:srcRect l="22812" r="22812"/>
          <a:stretch>
            <a:fillRect/>
          </a:stretch>
        </p:blipFill>
        <p:spPr/>
      </p:pic>
    </p:spTree>
    <p:extLst>
      <p:ext uri="{BB962C8B-B14F-4D97-AF65-F5344CB8AC3E}">
        <p14:creationId xmlns:p14="http://schemas.microsoft.com/office/powerpoint/2010/main" val="3588110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94e4dc6c55e095a527e77fded159d639b59c1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9DgdqMtFkOcUv4JB_1VGg"/>
</p:tagLst>
</file>

<file path=ppt/theme/theme1.xml><?xml version="1.0" encoding="utf-8"?>
<a:theme xmlns:a="http://schemas.openxmlformats.org/drawingml/2006/main" name="1_Loyens Loeff">
  <a:themeElements>
    <a:clrScheme name="Loyens &amp; Loeff - feb 2023">
      <a:dk1>
        <a:srgbClr val="000000"/>
      </a:dk1>
      <a:lt1>
        <a:srgbClr val="FFFFFF"/>
      </a:lt1>
      <a:dk2>
        <a:srgbClr val="4D4D4F"/>
      </a:dk2>
      <a:lt2>
        <a:srgbClr val="06357A"/>
      </a:lt2>
      <a:accent1>
        <a:srgbClr val="06357A"/>
      </a:accent1>
      <a:accent2>
        <a:srgbClr val="00A2E0"/>
      </a:accent2>
      <a:accent3>
        <a:srgbClr val="98C6EC"/>
      </a:accent3>
      <a:accent4>
        <a:srgbClr val="BEDCF4"/>
      </a:accent4>
      <a:accent5>
        <a:srgbClr val="E2F0F6"/>
      </a:accent5>
      <a:accent6>
        <a:srgbClr val="FFFFFF"/>
      </a:accent6>
      <a:hlink>
        <a:srgbClr val="215E9E"/>
      </a:hlink>
      <a:folHlink>
        <a:srgbClr val="215E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solidFill>
              <a:schemeClr val="tx2"/>
            </a:solidFill>
          </a:defRPr>
        </a:defPPr>
      </a:lstStyle>
    </a:txDef>
  </a:objectDefaults>
  <a:extraClrSchemeLst/>
  <a:custClrLst>
    <a:custClr name="Purple">
      <a:srgbClr val="A45580"/>
    </a:custClr>
    <a:custClr name="Dark Red">
      <a:srgbClr val="911D45"/>
    </a:custClr>
    <a:custClr name="Steel Blue">
      <a:srgbClr val="52859C"/>
    </a:custClr>
    <a:custClr name="Human Grey Light">
      <a:srgbClr val="FAF7F7"/>
    </a:custClr>
    <a:custClr name="Human Grey Medium">
      <a:srgbClr val="F2ECE7"/>
    </a:custClr>
    <a:custClr name="Human Grey Dark">
      <a:srgbClr val="E6DBCA"/>
    </a:custClr>
    <a:custClr name="Signal Green">
      <a:srgbClr val="00AF62"/>
    </a:custClr>
    <a:custClr name="Signal Red">
      <a:srgbClr val="D93B2B"/>
    </a:custClr>
  </a:custClrLst>
  <a:extLst>
    <a:ext uri="{05A4C25C-085E-4340-85A3-A5531E510DB2}">
      <thm15:themeFamily xmlns:thm15="http://schemas.microsoft.com/office/thememl/2012/main" name="Loyens Loeff" id="{475E9E1E-3078-4CDF-A012-0E9CE224CEA2}" vid="{0F7051A8-4D85-4866-A237-1735827B2D7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customXsn xmlns="http://schemas.microsoft.com/office/2006/metadata/customXsn">
  <xsnLocation/>
  <cached>True</cached>
  <openByDefault>False</openByDefault>
  <xsnScope/>
</customXs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nowhow Document" ma:contentTypeID="0x010100ADA929C0E46C494C978940A6ABA688B1008C5E79A67CAD9B4C8417F6341D56C998" ma:contentTypeVersion="73" ma:contentTypeDescription="" ma:contentTypeScope="" ma:versionID="5456eb38ce8ae9910dbeae2b4e5cd624">
  <xsd:schema xmlns:xsd="http://www.w3.org/2001/XMLSchema" xmlns:xs="http://www.w3.org/2001/XMLSchema" xmlns:p="http://schemas.microsoft.com/office/2006/metadata/properties" xmlns:ns2="5ceb8571-e506-4609-a1df-f622a75e93bc" xmlns:ns3="15872a21-ae80-4241-8e1c-0c2bd3968372" xmlns:ns4="http://schemas.microsoft.com/sharepoint/v4" targetNamespace="http://schemas.microsoft.com/office/2006/metadata/properties" ma:root="true" ma:fieldsID="67b44b5fa2f0d1a21a77dfeffaff20e0" ns2:_="" ns3:_="" ns4:_="">
    <xsd:import namespace="5ceb8571-e506-4609-a1df-f622a75e93bc"/>
    <xsd:import namespace="15872a21-ae80-4241-8e1c-0c2bd3968372"/>
    <xsd:import namespace="http://schemas.microsoft.com/sharepoint/v4"/>
    <xsd:element name="properties">
      <xsd:complexType>
        <xsd:sequence>
          <xsd:element name="documentManagement">
            <xsd:complexType>
              <xsd:all>
                <xsd:element ref="ns2:DocumentDate" minOccurs="0"/>
                <xsd:element ref="ns2:Reference" minOccurs="0"/>
                <xsd:element ref="ns2:KHStatus" minOccurs="0"/>
                <xsd:element ref="ns2:KnowhowContact" minOccurs="0"/>
                <xsd:element ref="ns3:KHSummary" minOccurs="0"/>
                <xsd:element ref="ns3:LinkedDocuments" minOccurs="0"/>
                <xsd:element ref="ns2:KHType" minOccurs="0"/>
                <xsd:element ref="ns3:PGOnly" minOccurs="0"/>
                <xsd:element ref="ns2:TaxCatchAllLabel" minOccurs="0"/>
                <xsd:element ref="ns2:ac4184be922a40088a722f3490e267ea" minOccurs="0"/>
                <xsd:element ref="ns2:m1c10d4de51e45b285300b3a68b12c8a" minOccurs="0"/>
                <xsd:element ref="ns2:_dlc_DocId" minOccurs="0"/>
                <xsd:element ref="ns2:h5c94dd424e647c68f0901399a7ada9e" minOccurs="0"/>
                <xsd:element ref="ns3:k1c2b1a8dbcf48b4ab8ff2c971c6cfa4" minOccurs="0"/>
                <xsd:element ref="ns3:id74c97f7fee47f39538e99c98304a32" minOccurs="0"/>
                <xsd:element ref="ns2:RelatedTo" minOccurs="0"/>
                <xsd:element ref="ns2:e7ca012014fd4c5f948c81db0fd0447b" minOccurs="0"/>
                <xsd:element ref="ns2:Linked_x0020_Document" minOccurs="0"/>
                <xsd:element ref="ns2:k04ef1a6edef480f86a3daf52122154a" minOccurs="0"/>
                <xsd:element ref="ns2:icb41a9a574548f9b1ecc7ee56082191" minOccurs="0"/>
                <xsd:element ref="ns2:j73658d1864649daac9609fea590932b" minOccurs="0"/>
                <xsd:element ref="ns2:TaxCatchAll" minOccurs="0"/>
                <xsd:element ref="ns2:of777ce7aa0849569bd5c2e46fa15289" minOccurs="0"/>
                <xsd:element ref="ns2:p92127ed06d5413d8aab43e0cb2b96e0" minOccurs="0"/>
                <xsd:element ref="ns2:_dlc_DocIdPersistId" minOccurs="0"/>
                <xsd:element ref="ns2:ee634f39a7ce4be78f167e98f2766204" minOccurs="0"/>
                <xsd:element ref="ns2:_dlc_DocIdUrl" minOccurs="0"/>
                <xsd:element ref="ns2:c9c8e7d5c6f14e07855597d225336aca" minOccurs="0"/>
                <xsd:element ref="ns2:RemarksHidden" minOccurs="0"/>
                <xsd:element ref="ns2:SharedWithUsers"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b8571-e506-4609-a1df-f622a75e93bc" elementFormDefault="qualified">
    <xsd:import namespace="http://schemas.microsoft.com/office/2006/documentManagement/types"/>
    <xsd:import namespace="http://schemas.microsoft.com/office/infopath/2007/PartnerControls"/>
    <xsd:element name="DocumentDate" ma:index="2" nillable="true" ma:displayName="Document date" ma:format="DateOnly" ma:internalName="DocumentDate">
      <xsd:simpleType>
        <xsd:restriction base="dms:DateTime"/>
      </xsd:simpleType>
    </xsd:element>
    <xsd:element name="Reference" ma:index="8" nillable="true" ma:displayName="Reference" ma:internalName="Reference">
      <xsd:simpleType>
        <xsd:restriction base="dms:Text">
          <xsd:maxLength value="255"/>
        </xsd:restriction>
      </xsd:simpleType>
    </xsd:element>
    <xsd:element name="KHStatus" ma:index="11" nillable="true" ma:displayName="Status" ma:default="In Progress" ma:format="Dropdown" ma:internalName="KHStatus">
      <xsd:simpleType>
        <xsd:restriction base="dms:Choice">
          <xsd:enumeration value="In Progress"/>
          <xsd:enumeration value="Completed"/>
        </xsd:restriction>
      </xsd:simpleType>
    </xsd:element>
    <xsd:element name="KnowhowContact" ma:index="12" nillable="true" ma:displayName="Knowhow contact" ma:list="UserInfo" ma:SharePointGroup="0" ma:internalName="Knowhow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HType" ma:index="15" nillable="true" ma:displayName="KHType" ma:default="Example" ma:format="Dropdown" ma:internalName="KHType">
      <xsd:simpleType>
        <xsd:restriction base="dms:Choice">
          <xsd:enumeration value="Example"/>
          <xsd:enumeration value="Model"/>
        </xsd:restriction>
      </xsd:simpleType>
    </xsd:element>
    <xsd:element name="TaxCatchAllLabel" ma:index="22" nillable="true" ma:displayName="Taxonomy Catch All Column1" ma:description="" ma:hidden="true" ma:list="{add9e6cf-a66e-47e2-b003-8b5c8890c43d}" ma:internalName="TaxCatchAllLabel" ma:readOnly="true" ma:showField="CatchAllDataLabel" ma:web="5ceb8571-e506-4609-a1df-f622a75e93bc">
      <xsd:complexType>
        <xsd:complexContent>
          <xsd:extension base="dms:MultiChoiceLookup">
            <xsd:sequence>
              <xsd:element name="Value" type="dms:Lookup" maxOccurs="unbounded" minOccurs="0" nillable="true"/>
            </xsd:sequence>
          </xsd:extension>
        </xsd:complexContent>
      </xsd:complexType>
    </xsd:element>
    <xsd:element name="ac4184be922a40088a722f3490e267ea" ma:index="23" nillable="true" ma:taxonomy="true" ma:internalName="ac4184be922a40088a722f3490e267ea" ma:taxonomyFieldName="PracticeGroup" ma:displayName="Practice group" ma:default="" ma:fieldId="{ac4184be-922a-4008-8a72-2f3490e267ea}" ma:taxonomyMulti="true" ma:sspId="09250230-b77d-465e-968f-e4c3c870895d" ma:termSetId="5c9716d8-8bf1-44fb-8337-f831427a3659" ma:anchorId="00000000-0000-0000-0000-000000000000" ma:open="false" ma:isKeyword="false">
      <xsd:complexType>
        <xsd:sequence>
          <xsd:element ref="pc:Terms" minOccurs="0" maxOccurs="1"/>
        </xsd:sequence>
      </xsd:complexType>
    </xsd:element>
    <xsd:element name="m1c10d4de51e45b285300b3a68b12c8a" ma:index="25" nillable="true" ma:taxonomy="true" ma:internalName="m1c10d4de51e45b285300b3a68b12c8a" ma:taxonomyFieldName="ProfessionalGroup" ma:displayName="Professional group" ma:default="9897;#General|4dec3477-4f8e-4612-9083-00de6398d11e" ma:fieldId="{61c10d4d-e51e-45b2-8530-0b3a68b12c8a}" ma:taxonomyMulti="true" ma:sspId="09250230-b77d-465e-968f-e4c3c870895d" ma:termSetId="2b7b7a3b-238c-4f02-8f3c-8a586287e8ed" ma:anchorId="00000000-0000-0000-0000-000000000000" ma:open="false" ma:isKeyword="false">
      <xsd:complexType>
        <xsd:sequence>
          <xsd:element ref="pc:Terms" minOccurs="0" maxOccurs="1"/>
        </xsd:sequence>
      </xsd:complexType>
    </xsd:element>
    <xsd:element name="_dlc_DocId" ma:index="26" nillable="true" ma:displayName="Waarde van de document-id" ma:description="De waarde van de document-id die aan dit item is toegewezen." ma:indexed="true" ma:internalName="_dlc_DocId" ma:readOnly="true">
      <xsd:simpleType>
        <xsd:restriction base="dms:Text"/>
      </xsd:simpleType>
    </xsd:element>
    <xsd:element name="h5c94dd424e647c68f0901399a7ada9e" ma:index="28" nillable="true" ma:taxonomy="true" ma:internalName="h5c94dd424e647c68f0901399a7ada9e" ma:taxonomyFieldName="Taxonomy" ma:displayName="Taxonomy old" ma:default="" ma:fieldId="{15c94dd4-24e6-47c6-8f09-01399a7ada9e}" ma:taxonomyMulti="true" ma:sspId="09250230-b77d-465e-968f-e4c3c870895d" ma:termSetId="47854fb5-5885-4a3d-8d6c-208a5ce37c7f" ma:anchorId="00000000-0000-0000-0000-000000000000" ma:open="false" ma:isKeyword="false">
      <xsd:complexType>
        <xsd:sequence>
          <xsd:element ref="pc:Terms" minOccurs="0" maxOccurs="1"/>
        </xsd:sequence>
      </xsd:complexType>
    </xsd:element>
    <xsd:element name="RelatedTo" ma:index="35" nillable="true" ma:displayName="RelatedTo" ma:hidden="true" ma:internalName="RelatedTo" ma:readOnly="false">
      <xsd:simpleType>
        <xsd:restriction base="dms:Text">
          <xsd:maxLength value="255"/>
        </xsd:restriction>
      </xsd:simpleType>
    </xsd:element>
    <xsd:element name="e7ca012014fd4c5f948c81db0fd0447b" ma:index="36" nillable="true" ma:taxonomy="true" ma:internalName="e7ca012014fd4c5f948c81db0fd0447b" ma:taxonomyFieldName="Authors" ma:displayName="Authors" ma:default="" ma:fieldId="{e7ca0120-14fd-4c5f-948c-81db0fd0447b}" ma:taxonomyMulti="true" ma:sspId="09250230-b77d-465e-968f-e4c3c870895d" ma:termSetId="a17072da-643c-4a3f-9d53-896b894db99f" ma:anchorId="00000000-0000-0000-0000-000000000000" ma:open="false" ma:isKeyword="false">
      <xsd:complexType>
        <xsd:sequence>
          <xsd:element ref="pc:Terms" minOccurs="0" maxOccurs="1"/>
        </xsd:sequence>
      </xsd:complexType>
    </xsd:element>
    <xsd:element name="Linked_x0020_Document" ma:index="37" nillable="true" ma:displayName="Linked Document" ma:description="" ma:hidden="true" ma:internalName="Linked_x0020_Document" ma:readOnly="false">
      <xsd:simpleType>
        <xsd:restriction base="dms:Note"/>
      </xsd:simpleType>
    </xsd:element>
    <xsd:element name="k04ef1a6edef480f86a3daf52122154a" ma:index="38" nillable="true" ma:taxonomy="true" ma:internalName="k04ef1a6edef480f86a3daf52122154a" ma:taxonomyFieldName="KnowhowStatus" ma:displayName="KnowhowStatus" ma:readOnly="false" ma:default="" ma:fieldId="{404ef1a6-edef-480f-86a3-daf52122154a}" ma:sspId="09250230-b77d-465e-968f-e4c3c870895d" ma:termSetId="94d88270-f57d-4962-822f-f7115048fe53" ma:anchorId="00000000-0000-0000-0000-000000000000" ma:open="false" ma:isKeyword="false">
      <xsd:complexType>
        <xsd:sequence>
          <xsd:element ref="pc:Terms" minOccurs="0" maxOccurs="1"/>
        </xsd:sequence>
      </xsd:complexType>
    </xsd:element>
    <xsd:element name="icb41a9a574548f9b1ecc7ee56082191" ma:index="39" nillable="true" ma:taxonomy="true" ma:internalName="icb41a9a574548f9b1ecc7ee56082191" ma:taxonomyFieldName="DocumentType" ma:displayName="Document type" ma:default="" ma:fieldId="{2cb41a9a-5745-48f9-b1ec-c7ee56082191}" ma:taxonomyMulti="true" ma:sspId="09250230-b77d-465e-968f-e4c3c870895d" ma:termSetId="41e6c280-2f5c-4cda-9e8c-1dae28661bfb" ma:anchorId="00000000-0000-0000-0000-000000000000" ma:open="false" ma:isKeyword="false">
      <xsd:complexType>
        <xsd:sequence>
          <xsd:element ref="pc:Terms" minOccurs="0" maxOccurs="1"/>
        </xsd:sequence>
      </xsd:complexType>
    </xsd:element>
    <xsd:element name="j73658d1864649daac9609fea590932b" ma:index="40" nillable="true" ma:taxonomy="true" ma:internalName="j73658d1864649daac9609fea590932b" ma:taxonomyFieldName="KnowledgeGroup" ma:displayName="KnowledgeGroup" ma:readOnly="false" ma:default="" ma:fieldId="{373658d1-8646-49da-ac96-09fea590932b}" ma:taxonomyMulti="true" ma:sspId="09250230-b77d-465e-968f-e4c3c870895d" ma:termSetId="c4fd8b0c-623e-4980-b4a5-087c5a424335" ma:anchorId="00000000-0000-0000-0000-000000000000" ma:open="false" ma:isKeyword="false">
      <xsd:complexType>
        <xsd:sequence>
          <xsd:element ref="pc:Terms" minOccurs="0" maxOccurs="1"/>
        </xsd:sequence>
      </xsd:complexType>
    </xsd:element>
    <xsd:element name="TaxCatchAll" ma:index="41" nillable="true" ma:displayName="Taxonomy Catch All Column" ma:description="" ma:hidden="true" ma:list="{add9e6cf-a66e-47e2-b003-8b5c8890c43d}" ma:internalName="TaxCatchAll" ma:showField="CatchAllData" ma:web="5ceb8571-e506-4609-a1df-f622a75e93bc">
      <xsd:complexType>
        <xsd:complexContent>
          <xsd:extension base="dms:MultiChoiceLookup">
            <xsd:sequence>
              <xsd:element name="Value" type="dms:Lookup" maxOccurs="unbounded" minOccurs="0" nillable="true"/>
            </xsd:sequence>
          </xsd:extension>
        </xsd:complexContent>
      </xsd:complexType>
    </xsd:element>
    <xsd:element name="of777ce7aa0849569bd5c2e46fa15289" ma:index="42" nillable="true" ma:taxonomy="true" ma:internalName="of777ce7aa0849569bd5c2e46fa15289" ma:taxonomyFieldName="PrecedentType" ma:displayName="PrecedentType" ma:readOnly="false" ma:default="" ma:fieldId="{8f777ce7-aa08-4956-9bd5-c2e46fa15289}" ma:sspId="09250230-b77d-465e-968f-e4c3c870895d" ma:termSetId="f4eb8a81-5118-45b7-80af-b14b78a91174" ma:anchorId="00000000-0000-0000-0000-000000000000" ma:open="false" ma:isKeyword="false">
      <xsd:complexType>
        <xsd:sequence>
          <xsd:element ref="pc:Terms" minOccurs="0" maxOccurs="1"/>
        </xsd:sequence>
      </xsd:complexType>
    </xsd:element>
    <xsd:element name="p92127ed06d5413d8aab43e0cb2b96e0" ma:index="43" nillable="true" ma:taxonomy="true" ma:internalName="p92127ed06d5413d8aab43e0cb2b96e0" ma:taxonomyFieldName="Jurisdiction" ma:displayName="Jurisdiction" ma:default="" ma:fieldId="{992127ed-06d5-413d-8aab-43e0cb2b96e0}" ma:taxonomyMulti="true" ma:sspId="09250230-b77d-465e-968f-e4c3c870895d" ma:termSetId="710fb70d-8680-4c75-b84f-76e1b1b8fe9f" ma:anchorId="00000000-0000-0000-0000-000000000000" ma:open="false" ma:isKeyword="false">
      <xsd:complexType>
        <xsd:sequence>
          <xsd:element ref="pc:Terms" minOccurs="0" maxOccurs="1"/>
        </xsd:sequence>
      </xsd:complexType>
    </xsd:element>
    <xsd:element name="_dlc_DocIdPersistId" ma:index="44" nillable="true" ma:displayName="Persist ID" ma:description="Keep ID on add." ma:hidden="true" ma:internalName="_dlc_DocIdPersistId" ma:readOnly="true">
      <xsd:simpleType>
        <xsd:restriction base="dms:Boolean"/>
      </xsd:simpleType>
    </xsd:element>
    <xsd:element name="ee634f39a7ce4be78f167e98f2766204" ma:index="45" nillable="true" ma:taxonomy="true" ma:internalName="ee634f39a7ce4be78f167e98f2766204" ma:taxonomyFieldName="Team" ma:displayName="Team" ma:default="" ma:fieldId="{ee634f39-a7ce-4be7-8f16-7e98f2766204}" ma:taxonomyMulti="true" ma:sspId="09250230-b77d-465e-968f-e4c3c870895d" ma:termSetId="ccc76296-bd20-4d54-941b-ee6fed0a4302" ma:anchorId="00000000-0000-0000-0000-000000000000" ma:open="false" ma:isKeyword="false">
      <xsd:complexType>
        <xsd:sequence>
          <xsd:element ref="pc:Terms" minOccurs="0" maxOccurs="1"/>
        </xsd:sequence>
      </xsd:complexType>
    </xsd:element>
    <xsd:element name="_dlc_DocIdUrl" ma:index="47" nillable="true" ma:displayName="Document-id" ma:description="Permanente koppeling naar dit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9c8e7d5c6f14e07855597d225336aca" ma:index="48" nillable="true" ma:taxonomy="true" ma:internalName="c9c8e7d5c6f14e07855597d225336aca" ma:taxonomyFieldName="Taxonomy1" ma:displayName="Taxonomy" ma:default="" ma:fieldId="{c9c8e7d5-c6f1-4e07-8555-97d225336aca}" ma:taxonomyMulti="true" ma:sspId="09250230-b77d-465e-968f-e4c3c870895d" ma:termSetId="2d833092-428b-44d4-8a87-17b59a7fc670" ma:anchorId="00000000-0000-0000-0000-000000000000" ma:open="false" ma:isKeyword="false">
      <xsd:complexType>
        <xsd:sequence>
          <xsd:element ref="pc:Terms" minOccurs="0" maxOccurs="1"/>
        </xsd:sequence>
      </xsd:complexType>
    </xsd:element>
    <xsd:element name="RemarksHidden" ma:index="49" nillable="true" ma:displayName="Remarks hidden" ma:description="" ma:internalName="RemarksHidden">
      <xsd:simpleType>
        <xsd:restriction base="dms:Note">
          <xsd:maxLength value="255"/>
        </xsd:restriction>
      </xsd:simpleType>
    </xsd:element>
    <xsd:element name="SharedWithUsers" ma:index="5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5872a21-ae80-4241-8e1c-0c2bd3968372" elementFormDefault="qualified">
    <xsd:import namespace="http://schemas.microsoft.com/office/2006/documentManagement/types"/>
    <xsd:import namespace="http://schemas.microsoft.com/office/infopath/2007/PartnerControls"/>
    <xsd:element name="KHSummary" ma:index="13" nillable="true" ma:displayName="KHSummary" ma:description="" ma:internalName="KHSummary">
      <xsd:simpleType>
        <xsd:restriction base="dms:Note"/>
      </xsd:simpleType>
    </xsd:element>
    <xsd:element name="LinkedDocuments" ma:index="14" nillable="true" ma:displayName="Linked Documents" ma:description="" ma:internalName="LinkedDocuments">
      <xsd:simpleType>
        <xsd:restriction base="dms:Note"/>
      </xsd:simpleType>
    </xsd:element>
    <xsd:element name="PGOnly" ma:index="19" nillable="true" ma:displayName="Lux Only" ma:default="0" ma:internalName="PGOnly">
      <xsd:simpleType>
        <xsd:restriction base="dms:Boolean"/>
      </xsd:simpleType>
    </xsd:element>
    <xsd:element name="k1c2b1a8dbcf48b4ab8ff2c971c6cfa4" ma:index="31" nillable="true" ma:taxonomy="true" ma:internalName="k1c2b1a8dbcf48b4ab8ff2c971c6cfa4" ma:taxonomyFieldName="KeyWords" ma:displayName="Keywords" ma:default="" ma:fieldId="{41c2b1a8-dbcf-48b4-ab8f-f2c971c6cfa4}" ma:taxonomyMulti="true" ma:sspId="09250230-b77d-465e-968f-e4c3c870895d" ma:termSetId="99768740-e78a-47af-9a27-da24e765a031" ma:anchorId="00000000-0000-0000-0000-000000000000" ma:open="false" ma:isKeyword="false">
      <xsd:complexType>
        <xsd:sequence>
          <xsd:element ref="pc:Terms" minOccurs="0" maxOccurs="1"/>
        </xsd:sequence>
      </xsd:complexType>
    </xsd:element>
    <xsd:element name="id74c97f7fee47f39538e99c98304a32" ma:index="33" nillable="true" ma:taxonomy="true" ma:internalName="id74c97f7fee47f39538e99c98304a32" ma:taxonomyFieldName="Language" ma:displayName="Language" ma:default="" ma:fieldId="{2d74c97f-7fee-47f3-9538-e99c98304a32}" ma:taxonomyMulti="true" ma:sspId="09250230-b77d-465e-968f-e4c3c870895d" ma:termSetId="a0ae5a1b-59e7-4344-be67-b3471b75915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Inhou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KHStatus xmlns="5ceb8571-e506-4609-a1df-f622a75e93bc">Completed</KHStatus>
    <Reference xmlns="5ceb8571-e506-4609-a1df-f622a75e93bc">Lodoc 2023/05;1.1.</Reference>
    <Linked_x0020_Document xmlns="5ceb8571-e506-4609-a1df-f622a75e93bc" xsi:nil="true"/>
    <KnowhowContact xmlns="5ceb8571-e506-4609-a1df-f622a75e93bc">
      <UserInfo>
        <DisplayName>Liesbeth Hendrix</DisplayName>
        <AccountId>60</AccountId>
        <AccountType/>
      </UserInfo>
    </KnowhowContact>
    <h5c94dd424e647c68f0901399a7ada9e xmlns="5ceb8571-e506-4609-a1df-f622a75e93bc">
      <Terms xmlns="http://schemas.microsoft.com/office/infopath/2007/PartnerControls"/>
    </h5c94dd424e647c68f0901399a7ada9e>
    <DocumentDate xmlns="5ceb8571-e506-4609-a1df-f622a75e93bc">2023-01-30T23:00:00+00:00</DocumentDate>
    <RelatedTo xmlns="5ceb8571-e506-4609-a1df-f622a75e93bc" xsi:nil="true"/>
    <k04ef1a6edef480f86a3daf52122154a xmlns="5ceb8571-e506-4609-a1df-f622a75e93bc">
      <Terms xmlns="http://schemas.microsoft.com/office/infopath/2007/PartnerControls"/>
    </k04ef1a6edef480f86a3daf52122154a>
    <IconOverlay xmlns="http://schemas.microsoft.com/sharepoint/v4" xsi:nil="true"/>
    <p92127ed06d5413d8aab43e0cb2b96e0 xmlns="5ceb8571-e506-4609-a1df-f622a75e93bc">
      <Terms xmlns="http://schemas.microsoft.com/office/infopath/2007/PartnerControls">
        <TermInfo xmlns="http://schemas.microsoft.com/office/infopath/2007/PartnerControls">
          <TermName xmlns="http://schemas.microsoft.com/office/infopath/2007/PartnerControls">Nederland</TermName>
          <TermId xmlns="http://schemas.microsoft.com/office/infopath/2007/PartnerControls">2b7ee6a5-67b0-4402-a157-96a007f79d73</TermId>
        </TermInfo>
      </Terms>
    </p92127ed06d5413d8aab43e0cb2b96e0>
    <ee634f39a7ce4be78f167e98f2766204 xmlns="5ceb8571-e506-4609-a1df-f622a75e93bc">
      <Terms xmlns="http://schemas.microsoft.com/office/infopath/2007/PartnerControls"/>
    </ee634f39a7ce4be78f167e98f2766204>
    <LinkedDocuments xmlns="15872a21-ae80-4241-8e1c-0c2bd3968372" xsi:nil="true"/>
    <k1c2b1a8dbcf48b4ab8ff2c971c6cfa4 xmlns="15872a21-ae80-4241-8e1c-0c2bd3968372">
      <Terms xmlns="http://schemas.microsoft.com/office/infopath/2007/PartnerControls">
        <TermInfo xmlns="http://schemas.microsoft.com/office/infopath/2007/PartnerControls">
          <TermName xmlns="http://schemas.microsoft.com/office/infopath/2007/PartnerControls">Pillar 2</TermName>
          <TermId xmlns="http://schemas.microsoft.com/office/infopath/2007/PartnerControls">457ee0f4-959e-47a3-a133-f3d1bfbcb02c</TermId>
        </TermInfo>
      </Terms>
    </k1c2b1a8dbcf48b4ab8ff2c971c6cfa4>
    <e7ca012014fd4c5f948c81db0fd0447b xmlns="5ceb8571-e506-4609-a1df-f622a75e93bc">
      <Terms xmlns="http://schemas.microsoft.com/office/infopath/2007/PartnerControls">
        <TermInfo xmlns="http://schemas.microsoft.com/office/infopath/2007/PartnerControls">
          <TermName xmlns="http://schemas.microsoft.com/office/infopath/2007/PartnerControls">Kiès, Ch.E.C.</TermName>
          <TermId xmlns="http://schemas.microsoft.com/office/infopath/2007/PartnerControls">c4d5aa2c-216d-46eb-b5e0-7c147ee03a60</TermId>
        </TermInfo>
        <TermInfo xmlns="http://schemas.microsoft.com/office/infopath/2007/PartnerControls">
          <TermName xmlns="http://schemas.microsoft.com/office/infopath/2007/PartnerControls">Amerongen, A. van</TermName>
          <TermId xmlns="http://schemas.microsoft.com/office/infopath/2007/PartnerControls">526ce5c7-ba34-4689-8c74-4af94c756618</TermId>
        </TermInfo>
      </Terms>
    </e7ca012014fd4c5f948c81db0fd0447b>
    <j73658d1864649daac9609fea590932b xmlns="5ceb8571-e506-4609-a1df-f622a75e93bc">
      <Terms xmlns="http://schemas.microsoft.com/office/infopath/2007/PartnerControls">
        <TermInfo xmlns="http://schemas.microsoft.com/office/infopath/2007/PartnerControls">
          <TermName xmlns="http://schemas.microsoft.com/office/infopath/2007/PartnerControls">Digital Taxation</TermName>
          <TermId xmlns="http://schemas.microsoft.com/office/infopath/2007/PartnerControls">df99a622-d18c-4b94-bbca-12a2c006ee1a</TermId>
        </TermInfo>
      </Terms>
    </j73658d1864649daac9609fea590932b>
    <c9c8e7d5c6f14e07855597d225336aca xmlns="5ceb8571-e506-4609-a1df-f622a75e93bc">
      <Terms xmlns="http://schemas.microsoft.com/office/infopath/2007/PartnerControls"/>
    </c9c8e7d5c6f14e07855597d225336aca>
    <KHSummary xmlns="15872a21-ae80-4241-8e1c-0c2bd3968372">&lt;p&gt;​&lt;/p&gt;&lt;div&gt;Charlotte Kiès and Agathe van Amerongen presented a workshop on Pillar 2, “Pillar 2 – the basics” for all Dutch tax advisers. The workshop was given in Dutch and covered the basics of Pillar 2.&amp;#160;&lt;/div&gt;&lt;div&gt;Similar workshops will be organized in our other home markets. Attached are the slides which were prepared in English and are a compilation of slides that were available internally and prepared throughout the firm. Part of these slides were presented during the workshop, other parts (e.g. Capita selecta, GloBE case studies and “how can we help you”) were not addressed but are nevertheless useful to take note of. In case of questions, please contact Charlotte and Agathe (or any of the other members of the KG digital taxation)&lt;/div&gt;&lt;div&gt;&lt;a href="https&amp;#58;//vimeo.com/794534095/4c669a8e7a" target="_blank"&gt;Recording (in Dutch)​&lt;/a&gt; – 31 januari 2023&lt;/div&gt;&lt;div&gt;&lt;br&gt;&lt;br&gt;&lt;/div&gt;&lt;p&gt;&lt;br&gt;&lt;/p&gt;</KHSummary>
    <RemarksHidden xmlns="5ceb8571-e506-4609-a1df-f622a75e93bc" xsi:nil="true"/>
    <m1c10d4de51e45b285300b3a68b12c8a xmlns="5ceb8571-e506-4609-a1df-f622a75e93bc">
      <Terms xmlns="http://schemas.microsoft.com/office/infopath/2007/PartnerControls">
        <TermInfo xmlns="http://schemas.microsoft.com/office/infopath/2007/PartnerControls">
          <TermName xmlns="http://schemas.microsoft.com/office/infopath/2007/PartnerControls">General</TermName>
          <TermId xmlns="http://schemas.microsoft.com/office/infopath/2007/PartnerControls">4dec3477-4f8e-4612-9083-00de6398d11e</TermId>
        </TermInfo>
      </Terms>
    </m1c10d4de51e45b285300b3a68b12c8a>
    <PGOnly xmlns="15872a21-ae80-4241-8e1c-0c2bd3968372">false</PGOnly>
    <icb41a9a574548f9b1ecc7ee56082191 xmlns="5ceb8571-e506-4609-a1df-f622a75e93bc">
      <Terms xmlns="http://schemas.microsoft.com/office/infopath/2007/PartnerControls">
        <TermInfo xmlns="http://schemas.microsoft.com/office/infopath/2007/PartnerControls">
          <TermName xmlns="http://schemas.microsoft.com/office/infopath/2007/PartnerControls">presentatie</TermName>
          <TermId xmlns="http://schemas.microsoft.com/office/infopath/2007/PartnerControls">b372f458-377f-440c-8d91-69548fea5e9f</TermId>
        </TermInfo>
      </Terms>
    </icb41a9a574548f9b1ecc7ee56082191>
    <TaxCatchAll xmlns="5ceb8571-e506-4609-a1df-f622a75e93bc">
      <Value>16624</Value>
      <Value>15978</Value>
      <Value>15977</Value>
      <Value>12149</Value>
      <Value>17705</Value>
      <Value>1333</Value>
      <Value>17618</Value>
      <Value>17463</Value>
      <Value>9897</Value>
      <Value>17691</Value>
      <Value>15980</Value>
    </TaxCatchAll>
    <of777ce7aa0849569bd5c2e46fa15289 xmlns="5ceb8571-e506-4609-a1df-f622a75e93bc">
      <Terms xmlns="http://schemas.microsoft.com/office/infopath/2007/PartnerControls"/>
    </of777ce7aa0849569bd5c2e46fa15289>
    <ac4184be922a40088a722f3490e267ea xmlns="5ceb8571-e506-4609-a1df-f622a75e93bc">
      <Terms xmlns="http://schemas.microsoft.com/office/infopath/2007/PartnerControls">
        <TermInfo xmlns="http://schemas.microsoft.com/office/infopath/2007/PartnerControls">
          <TermName xmlns="http://schemas.microsoft.com/office/infopath/2007/PartnerControls">Algemene Fiscale Praktijk</TermName>
          <TermId xmlns="http://schemas.microsoft.com/office/infopath/2007/PartnerControls">c26e836b-0234-4408-8791-f2010a7fc503</TermId>
        </TermInfo>
        <TermInfo xmlns="http://schemas.microsoft.com/office/infopath/2007/PartnerControls">
          <TermName xmlns="http://schemas.microsoft.com/office/infopath/2007/PartnerControls">ITS Americas</TermName>
          <TermId xmlns="http://schemas.microsoft.com/office/infopath/2007/PartnerControls">317b74a8-6754-4b91-9c78-7b4a230922b1</TermId>
        </TermInfo>
        <TermInfo xmlns="http://schemas.microsoft.com/office/infopath/2007/PartnerControls">
          <TermName xmlns="http://schemas.microsoft.com/office/infopath/2007/PartnerControls">Multinationals</TermName>
          <TermId xmlns="http://schemas.microsoft.com/office/infopath/2007/PartnerControls">5f8f7e39-c17f-4446-80c9-ee536cef041a</TermId>
        </TermInfo>
      </Terms>
    </ac4184be922a40088a722f3490e267ea>
    <id74c97f7fee47f39538e99c98304a32 xmlns="15872a21-ae80-4241-8e1c-0c2bd3968372">
      <Terms xmlns="http://schemas.microsoft.com/office/infopath/2007/PartnerControls">
        <TermInfo xmlns="http://schemas.microsoft.com/office/infopath/2007/PartnerControls">
          <TermName xmlns="http://schemas.microsoft.com/office/infopath/2007/PartnerControls">Nederlands</TermName>
          <TermId xmlns="http://schemas.microsoft.com/office/infopath/2007/PartnerControls">b2a4f50f-2d1a-45a3-9bb8-e606c2ad1137</TermId>
        </TermInfo>
      </Terms>
    </id74c97f7fee47f39538e99c98304a32>
    <KHType xmlns="5ceb8571-e506-4609-a1df-f622a75e93bc">Example</KHType>
    <_dlc_DocId xmlns="5ceb8571-e506-4609-a1df-f622a75e93bc">KHID-1797567314-48648</_dlc_DocId>
    <_dlc_DocIdUrl xmlns="5ceb8571-e506-4609-a1df-f622a75e93bc">
      <Url>https://knowhow.corp.loyens.nl/_layouts/15/DocIdRedir.aspx?ID=KHID-1797567314-48648</Url>
      <Description>KHID-1797567314-48648</Description>
    </_dlc_DocIdUrl>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B3446CC-112E-4D26-A2E0-BD75293D8F5A}">
  <ds:schemaRefs>
    <ds:schemaRef ds:uri="http://schemas.microsoft.com/office/2006/metadata/customXsn"/>
  </ds:schemaRefs>
</ds:datastoreItem>
</file>

<file path=customXml/itemProps2.xml><?xml version="1.0" encoding="utf-8"?>
<ds:datastoreItem xmlns:ds="http://schemas.openxmlformats.org/officeDocument/2006/customXml" ds:itemID="{D74ADB7D-1831-45FD-8315-226EE998F032}">
  <ds:schemaRefs>
    <ds:schemaRef ds:uri="http://schemas.microsoft.com/sharepoint/v3/contenttype/forms"/>
  </ds:schemaRefs>
</ds:datastoreItem>
</file>

<file path=customXml/itemProps3.xml><?xml version="1.0" encoding="utf-8"?>
<ds:datastoreItem xmlns:ds="http://schemas.openxmlformats.org/officeDocument/2006/customXml" ds:itemID="{CC53AFC6-9047-41A1-89EB-B420D774EDD2}">
  <ds:schemaRefs>
    <ds:schemaRef ds:uri="15872a21-ae80-4241-8e1c-0c2bd3968372"/>
    <ds:schemaRef ds:uri="5ceb8571-e506-4609-a1df-f622a75e93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4"/>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A313F56B-A21D-4C0D-825D-741F66763704}">
  <ds:schemaRefs>
    <ds:schemaRef ds:uri="15872a21-ae80-4241-8e1c-0c2bd3968372"/>
    <ds:schemaRef ds:uri="5ceb8571-e506-4609-a1df-f622a75e93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C3A569C6-2049-49A0-9A6D-3ECD81C31F0D}">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0712</TotalTime>
  <Words>2009</Words>
  <Application>Microsoft Office PowerPoint</Application>
  <PresentationFormat>Widescreen</PresentationFormat>
  <Paragraphs>268</Paragraphs>
  <Slides>24</Slides>
  <Notes>2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4</vt:i4>
      </vt:variant>
    </vt:vector>
  </HeadingPairs>
  <TitlesOfParts>
    <vt:vector size="29" baseType="lpstr">
      <vt:lpstr>Arial</vt:lpstr>
      <vt:lpstr>Arial Black</vt:lpstr>
      <vt:lpstr>Calibri</vt:lpstr>
      <vt:lpstr>Wingdings</vt:lpstr>
      <vt:lpstr>1_Loyens Loeff</vt:lpstr>
      <vt:lpstr>Residence for corporate income tax purposes – Belgian branch report  IFA Congress 2025 Lisbon, Portugal</vt:lpstr>
      <vt:lpstr>Agenda</vt:lpstr>
      <vt:lpstr>PowerPoint Presentation</vt:lpstr>
      <vt:lpstr>Introduction   </vt:lpstr>
      <vt:lpstr>PowerPoint Presentation</vt:lpstr>
      <vt:lpstr>Concept of residency </vt:lpstr>
      <vt:lpstr>Concept of residency – principal establishment </vt:lpstr>
      <vt:lpstr>Concept of residency – principal establishment </vt:lpstr>
      <vt:lpstr>Concept of residency – principal establishment </vt:lpstr>
      <vt:lpstr>Concept of residency – principal establishment </vt:lpstr>
      <vt:lpstr>Concept of residency – principal establishment </vt:lpstr>
      <vt:lpstr>PowerPoint Presentation</vt:lpstr>
      <vt:lpstr>Concept of residency – article 4,§1 OECD Model Convention  </vt:lpstr>
      <vt:lpstr>Concept of residency – article 4,§1 OECD Model Convention  </vt:lpstr>
      <vt:lpstr>Concept of residency – article 4,§1 OECD Model Convention  </vt:lpstr>
      <vt:lpstr>PowerPoint Presentation</vt:lpstr>
      <vt:lpstr>Instances of dual or multiple residence</vt:lpstr>
      <vt:lpstr>Solving instances of dual or multiple residence</vt:lpstr>
      <vt:lpstr>Solving instances of dual or multiple residence</vt:lpstr>
      <vt:lpstr>Solving instances of dual or multiple residence</vt:lpstr>
      <vt:lpstr>Solving instances of dual or multiple residenc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s and recording: Workshop “Pillar 2: the basics”</dc:title>
  <dc:creator>Pierre-Antoine Klethi</dc:creator>
  <cp:lastModifiedBy>Linda Brosens</cp:lastModifiedBy>
  <cp:revision>45</cp:revision>
  <cp:lastPrinted>2023-01-12T09:47:01Z</cp:lastPrinted>
  <dcterms:created xsi:type="dcterms:W3CDTF">2021-01-19T15:54:34Z</dcterms:created>
  <dcterms:modified xsi:type="dcterms:W3CDTF">2024-11-12T12: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orksiteMatterName">
    <vt:lpwstr>Algemene Fiscale Praktijk Brussel</vt:lpwstr>
  </property>
  <property fmtid="{D5CDD505-2E9C-101B-9397-08002B2CF9AE}" pid="3" name="WorksiteDocNumber">
    <vt:lpwstr>52675408</vt:lpwstr>
  </property>
  <property fmtid="{D5CDD505-2E9C-101B-9397-08002B2CF9AE}" pid="4" name="WorksiteDocVersion">
    <vt:lpwstr>v1</vt:lpwstr>
  </property>
  <property fmtid="{D5CDD505-2E9C-101B-9397-08002B2CF9AE}" pid="5" name="WorksiteMatterNumber">
    <vt:lpwstr>PG_FISCBRU</vt:lpwstr>
  </property>
  <property fmtid="{D5CDD505-2E9C-101B-9397-08002B2CF9AE}" pid="6" name="WorksiteAuthor">
    <vt:lpwstr>Linda.Brosens@loyensloeff.com</vt:lpwstr>
  </property>
  <property fmtid="{D5CDD505-2E9C-101B-9397-08002B2CF9AE}" pid="7" name="dmFooter">
    <vt:lpwstr>1</vt:lpwstr>
  </property>
  <property fmtid="{D5CDD505-2E9C-101B-9397-08002B2CF9AE}" pid="8" name="dmVersion">
    <vt:lpwstr>0</vt:lpwstr>
  </property>
  <property fmtid="{D5CDD505-2E9C-101B-9397-08002B2CF9AE}" pid="9" name="ContentTypeId">
    <vt:lpwstr>0x010100ADA929C0E46C494C978940A6ABA688B1008C5E79A67CAD9B4C8417F6341D56C998</vt:lpwstr>
  </property>
  <property fmtid="{D5CDD505-2E9C-101B-9397-08002B2CF9AE}" pid="10" name="_dlc_DocIdItemGuid">
    <vt:lpwstr>a818da82-c0cc-4099-a74d-9b08cca83e05</vt:lpwstr>
  </property>
  <property fmtid="{D5CDD505-2E9C-101B-9397-08002B2CF9AE}" pid="11" name="Jurisdiction">
    <vt:lpwstr>15977;#Nederland|2b7ee6a5-67b0-4402-a157-96a007f79d73</vt:lpwstr>
  </property>
  <property fmtid="{D5CDD505-2E9C-101B-9397-08002B2CF9AE}" pid="12" name="KnowledgeGroup">
    <vt:lpwstr>17463;#Digital Taxation|df99a622-d18c-4b94-bbca-12a2c006ee1a</vt:lpwstr>
  </property>
  <property fmtid="{D5CDD505-2E9C-101B-9397-08002B2CF9AE}" pid="13" name="KeyWords">
    <vt:lpwstr>17618;#Pillar 2|457ee0f4-959e-47a3-a133-f3d1bfbcb02c</vt:lpwstr>
  </property>
  <property fmtid="{D5CDD505-2E9C-101B-9397-08002B2CF9AE}" pid="14" name="PrecedentType">
    <vt:lpwstr/>
  </property>
  <property fmtid="{D5CDD505-2E9C-101B-9397-08002B2CF9AE}" pid="15" name="Team">
    <vt:lpwstr/>
  </property>
  <property fmtid="{D5CDD505-2E9C-101B-9397-08002B2CF9AE}" pid="16" name="ProfessionalGroup">
    <vt:lpwstr>9897;#General|4dec3477-4f8e-4612-9083-00de6398d11e</vt:lpwstr>
  </property>
  <property fmtid="{D5CDD505-2E9C-101B-9397-08002B2CF9AE}" pid="17" name="PracticeGroup">
    <vt:lpwstr>15978;#Algemene Fiscale Praktijk|c26e836b-0234-4408-8791-f2010a7fc503;#17691;#ITS Americas|317b74a8-6754-4b91-9c78-7b4a230922b1;#17705;#Multinationals|5f8f7e39-c17f-4446-80c9-ee536cef041a</vt:lpwstr>
  </property>
  <property fmtid="{D5CDD505-2E9C-101B-9397-08002B2CF9AE}" pid="18" name="DocumentType">
    <vt:lpwstr>1333;#presentatie|b372f458-377f-440c-8d91-69548fea5e9f</vt:lpwstr>
  </property>
  <property fmtid="{D5CDD505-2E9C-101B-9397-08002B2CF9AE}" pid="19" name="KnowhowStatus">
    <vt:lpwstr/>
  </property>
  <property fmtid="{D5CDD505-2E9C-101B-9397-08002B2CF9AE}" pid="20" name="Taxonomy">
    <vt:lpwstr/>
  </property>
  <property fmtid="{D5CDD505-2E9C-101B-9397-08002B2CF9AE}" pid="21" name="Taxonomy1">
    <vt:lpwstr/>
  </property>
  <property fmtid="{D5CDD505-2E9C-101B-9397-08002B2CF9AE}" pid="22" name="Authors">
    <vt:lpwstr>12149;#Kiès, Ch.E.C.|c4d5aa2c-216d-46eb-b5e0-7c147ee03a60;#16624;#Amerongen, A. van|526ce5c7-ba34-4689-8c74-4af94c756618</vt:lpwstr>
  </property>
  <property fmtid="{D5CDD505-2E9C-101B-9397-08002B2CF9AE}" pid="23" name="Language">
    <vt:lpwstr>15980;#Nederlands|b2a4f50f-2d1a-45a3-9bb8-e606c2ad1137</vt:lpwstr>
  </property>
</Properties>
</file>